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256" r:id="rId2"/>
    <p:sldId id="257" r:id="rId3"/>
    <p:sldId id="258" r:id="rId4"/>
    <p:sldId id="579" r:id="rId5"/>
    <p:sldId id="566" r:id="rId6"/>
    <p:sldId id="260" r:id="rId7"/>
    <p:sldId id="261" r:id="rId8"/>
    <p:sldId id="262" r:id="rId9"/>
    <p:sldId id="264" r:id="rId10"/>
    <p:sldId id="265" r:id="rId11"/>
    <p:sldId id="266" r:id="rId12"/>
    <p:sldId id="580" r:id="rId13"/>
    <p:sldId id="585" r:id="rId14"/>
    <p:sldId id="586" r:id="rId15"/>
    <p:sldId id="619" r:id="rId16"/>
    <p:sldId id="274" r:id="rId17"/>
    <p:sldId id="571" r:id="rId18"/>
    <p:sldId id="588" r:id="rId19"/>
    <p:sldId id="568" r:id="rId20"/>
    <p:sldId id="569" r:id="rId21"/>
    <p:sldId id="570" r:id="rId22"/>
    <p:sldId id="575" r:id="rId23"/>
    <p:sldId id="572" r:id="rId24"/>
    <p:sldId id="573" r:id="rId25"/>
    <p:sldId id="574" r:id="rId26"/>
    <p:sldId id="319" r:id="rId27"/>
    <p:sldId id="576" r:id="rId28"/>
    <p:sldId id="577" r:id="rId29"/>
    <p:sldId id="578" r:id="rId30"/>
    <p:sldId id="582" r:id="rId31"/>
    <p:sldId id="583" r:id="rId32"/>
    <p:sldId id="584" r:id="rId33"/>
    <p:sldId id="303" r:id="rId34"/>
    <p:sldId id="320" r:id="rId35"/>
    <p:sldId id="321" r:id="rId36"/>
    <p:sldId id="587" r:id="rId37"/>
    <p:sldId id="593" r:id="rId38"/>
    <p:sldId id="590" r:id="rId39"/>
    <p:sldId id="591" r:id="rId40"/>
    <p:sldId id="592" r:id="rId41"/>
    <p:sldId id="594" r:id="rId42"/>
    <p:sldId id="595" r:id="rId43"/>
    <p:sldId id="596" r:id="rId44"/>
    <p:sldId id="597" r:id="rId45"/>
    <p:sldId id="598" r:id="rId46"/>
    <p:sldId id="600" r:id="rId47"/>
    <p:sldId id="599" r:id="rId48"/>
    <p:sldId id="602" r:id="rId49"/>
    <p:sldId id="607" r:id="rId50"/>
    <p:sldId id="608" r:id="rId51"/>
    <p:sldId id="609" r:id="rId52"/>
    <p:sldId id="610" r:id="rId53"/>
    <p:sldId id="611" r:id="rId54"/>
    <p:sldId id="612" r:id="rId55"/>
    <p:sldId id="613" r:id="rId56"/>
    <p:sldId id="614" r:id="rId57"/>
    <p:sldId id="615" r:id="rId58"/>
    <p:sldId id="616" r:id="rId59"/>
    <p:sldId id="617" r:id="rId60"/>
    <p:sldId id="618" r:id="rId61"/>
  </p:sldIdLst>
  <p:sldSz cx="9144000" cy="6858000" type="screen4x3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8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3549D8-C99C-ED47-90C4-A936931AC1BC}" type="doc">
      <dgm:prSet loTypeId="urn:microsoft.com/office/officeart/2005/8/layout/hProcess10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1240EE1-E318-1341-B0C5-71CD092D8698}">
      <dgm:prSet phldrT="[Текст]"/>
      <dgm:spPr/>
      <dgm:t>
        <a:bodyPr/>
        <a:lstStyle/>
        <a:p>
          <a:r>
            <a:rPr lang="ru-RU" dirty="0"/>
            <a:t>Исполнитель</a:t>
          </a:r>
        </a:p>
      </dgm:t>
    </dgm:pt>
    <dgm:pt modelId="{256C909C-F32C-0E44-9CDE-FC20D10201E3}" type="parTrans" cxnId="{F6EF956E-5858-F841-9C8B-8C1FA4576C30}">
      <dgm:prSet/>
      <dgm:spPr/>
      <dgm:t>
        <a:bodyPr/>
        <a:lstStyle/>
        <a:p>
          <a:endParaRPr lang="ru-RU"/>
        </a:p>
      </dgm:t>
    </dgm:pt>
    <dgm:pt modelId="{9735F603-9D81-1649-BA6C-05E6C7526B5D}" type="sibTrans" cxnId="{F6EF956E-5858-F841-9C8B-8C1FA4576C30}">
      <dgm:prSet/>
      <dgm:spPr/>
      <dgm:t>
        <a:bodyPr/>
        <a:lstStyle/>
        <a:p>
          <a:endParaRPr lang="ru-RU"/>
        </a:p>
      </dgm:t>
    </dgm:pt>
    <dgm:pt modelId="{E335024E-41BE-F84F-A071-33243ABC5206}">
      <dgm:prSet phldrT="[Текст]"/>
      <dgm:spPr/>
      <dgm:t>
        <a:bodyPr/>
        <a:lstStyle/>
        <a:p>
          <a:r>
            <a:rPr lang="ru-RU" dirty="0"/>
            <a:t>Организация</a:t>
          </a:r>
        </a:p>
      </dgm:t>
    </dgm:pt>
    <dgm:pt modelId="{220981A1-D6F1-A24C-B2A2-0CEDF22852B3}" type="parTrans" cxnId="{E57EFAF3-9C38-BC4D-8F35-993948E9F57B}">
      <dgm:prSet/>
      <dgm:spPr/>
      <dgm:t>
        <a:bodyPr/>
        <a:lstStyle/>
        <a:p>
          <a:endParaRPr lang="ru-RU"/>
        </a:p>
      </dgm:t>
    </dgm:pt>
    <dgm:pt modelId="{501A5BCB-59BA-6644-ADE3-FF6BB9799004}" type="sibTrans" cxnId="{E57EFAF3-9C38-BC4D-8F35-993948E9F57B}">
      <dgm:prSet/>
      <dgm:spPr/>
      <dgm:t>
        <a:bodyPr/>
        <a:lstStyle/>
        <a:p>
          <a:endParaRPr lang="ru-RU"/>
        </a:p>
      </dgm:t>
    </dgm:pt>
    <dgm:pt modelId="{CCFB1575-4CB0-3E4B-A319-7C4D06DCE7C2}">
      <dgm:prSet phldrT="[Текст]"/>
      <dgm:spPr/>
      <dgm:t>
        <a:bodyPr/>
        <a:lstStyle/>
        <a:p>
          <a:r>
            <a:rPr lang="ru-RU" dirty="0"/>
            <a:t>Заказчик</a:t>
          </a:r>
        </a:p>
      </dgm:t>
    </dgm:pt>
    <dgm:pt modelId="{86AA4C42-961D-004F-96F2-5AED9EC80341}" type="parTrans" cxnId="{E83D911D-DD18-D548-A51C-86E6BE5D3A70}">
      <dgm:prSet/>
      <dgm:spPr/>
      <dgm:t>
        <a:bodyPr/>
        <a:lstStyle/>
        <a:p>
          <a:endParaRPr lang="ru-RU"/>
        </a:p>
      </dgm:t>
    </dgm:pt>
    <dgm:pt modelId="{4A14053B-4505-6440-B3FA-83FC7FDFD848}" type="sibTrans" cxnId="{E83D911D-DD18-D548-A51C-86E6BE5D3A70}">
      <dgm:prSet/>
      <dgm:spPr/>
      <dgm:t>
        <a:bodyPr/>
        <a:lstStyle/>
        <a:p>
          <a:endParaRPr lang="ru-RU"/>
        </a:p>
      </dgm:t>
    </dgm:pt>
    <dgm:pt modelId="{4E0B4F92-F6EF-C247-9188-B30D5EE597AF}" type="pres">
      <dgm:prSet presAssocID="{593549D8-C99C-ED47-90C4-A936931AC1B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8E838E2-E9CA-4744-9B88-6602C0F1183C}" type="pres">
      <dgm:prSet presAssocID="{11240EE1-E318-1341-B0C5-71CD092D8698}" presName="composite" presStyleCnt="0"/>
      <dgm:spPr/>
    </dgm:pt>
    <dgm:pt modelId="{CB663B4A-AE4B-7844-9D59-312FA69E067F}" type="pres">
      <dgm:prSet presAssocID="{11240EE1-E318-1341-B0C5-71CD092D8698}" presName="imagSh" presStyleLbl="bgImgPlace1" presStyleIdx="0" presStyleCnt="3"/>
      <dgm:spPr/>
    </dgm:pt>
    <dgm:pt modelId="{0CFA5148-333D-274C-888F-3F3F57365AFE}" type="pres">
      <dgm:prSet presAssocID="{11240EE1-E318-1341-B0C5-71CD092D8698}" presName="tx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269634-A08E-D24B-9C83-C0C9EF555F1D}" type="pres">
      <dgm:prSet presAssocID="{9735F603-9D81-1649-BA6C-05E6C7526B5D}" presName="sibTrans" presStyleLbl="sibTrans2D1" presStyleIdx="0" presStyleCnt="2"/>
      <dgm:spPr/>
      <dgm:t>
        <a:bodyPr/>
        <a:lstStyle/>
        <a:p>
          <a:endParaRPr lang="ru-RU"/>
        </a:p>
      </dgm:t>
    </dgm:pt>
    <dgm:pt modelId="{5EF8BE7D-6AD9-2742-B088-44988F933E92}" type="pres">
      <dgm:prSet presAssocID="{9735F603-9D81-1649-BA6C-05E6C7526B5D}" presName="connTx" presStyleLbl="sibTrans2D1" presStyleIdx="0" presStyleCnt="2"/>
      <dgm:spPr/>
      <dgm:t>
        <a:bodyPr/>
        <a:lstStyle/>
        <a:p>
          <a:endParaRPr lang="ru-RU"/>
        </a:p>
      </dgm:t>
    </dgm:pt>
    <dgm:pt modelId="{70FE21F3-5153-9D4B-83D5-DEEF18F1C78E}" type="pres">
      <dgm:prSet presAssocID="{E335024E-41BE-F84F-A071-33243ABC5206}" presName="composite" presStyleCnt="0"/>
      <dgm:spPr/>
    </dgm:pt>
    <dgm:pt modelId="{91E2FB73-EC9C-A149-BEFB-0146A1D7CD1F}" type="pres">
      <dgm:prSet presAssocID="{E335024E-41BE-F84F-A071-33243ABC5206}" presName="imagSh" presStyleLbl="bgImgPlace1" presStyleIdx="1" presStyleCnt="3"/>
      <dgm:spPr/>
    </dgm:pt>
    <dgm:pt modelId="{855BDE32-3FC0-664D-AE0E-366D727EBC86}" type="pres">
      <dgm:prSet presAssocID="{E335024E-41BE-F84F-A071-33243ABC5206}" presName="tx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7D2FFB-1A88-7443-9C1F-9FF8EEE42B47}" type="pres">
      <dgm:prSet presAssocID="{501A5BCB-59BA-6644-ADE3-FF6BB9799004}" presName="sibTrans" presStyleLbl="sibTrans2D1" presStyleIdx="1" presStyleCnt="2"/>
      <dgm:spPr/>
      <dgm:t>
        <a:bodyPr/>
        <a:lstStyle/>
        <a:p>
          <a:endParaRPr lang="ru-RU"/>
        </a:p>
      </dgm:t>
    </dgm:pt>
    <dgm:pt modelId="{CA3043F5-43B9-FA42-A51B-C2C610E364A8}" type="pres">
      <dgm:prSet presAssocID="{501A5BCB-59BA-6644-ADE3-FF6BB9799004}" presName="connTx" presStyleLbl="sibTrans2D1" presStyleIdx="1" presStyleCnt="2"/>
      <dgm:spPr/>
      <dgm:t>
        <a:bodyPr/>
        <a:lstStyle/>
        <a:p>
          <a:endParaRPr lang="ru-RU"/>
        </a:p>
      </dgm:t>
    </dgm:pt>
    <dgm:pt modelId="{6FAF7AE5-4173-6F42-8899-3E2CEB394862}" type="pres">
      <dgm:prSet presAssocID="{CCFB1575-4CB0-3E4B-A319-7C4D06DCE7C2}" presName="composite" presStyleCnt="0"/>
      <dgm:spPr/>
    </dgm:pt>
    <dgm:pt modelId="{CA6BDD06-E6B2-9B4F-B775-D66305B25604}" type="pres">
      <dgm:prSet presAssocID="{CCFB1575-4CB0-3E4B-A319-7C4D06DCE7C2}" presName="imagSh" presStyleLbl="bgImgPlace1" presStyleIdx="2" presStyleCnt="3"/>
      <dgm:spPr/>
    </dgm:pt>
    <dgm:pt modelId="{C54095A7-6FBB-9549-AE70-BF6114E5907D}" type="pres">
      <dgm:prSet presAssocID="{CCFB1575-4CB0-3E4B-A319-7C4D06DCE7C2}" presName="tx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FC17D38-00B4-254A-8576-AFF412E278CD}" type="presOf" srcId="{9735F603-9D81-1649-BA6C-05E6C7526B5D}" destId="{5EF8BE7D-6AD9-2742-B088-44988F933E92}" srcOrd="1" destOrd="0" presId="urn:microsoft.com/office/officeart/2005/8/layout/hProcess10"/>
    <dgm:cxn modelId="{2A72EA5B-3172-7944-91A3-0141DEDBDF37}" type="presOf" srcId="{E335024E-41BE-F84F-A071-33243ABC5206}" destId="{855BDE32-3FC0-664D-AE0E-366D727EBC86}" srcOrd="0" destOrd="0" presId="urn:microsoft.com/office/officeart/2005/8/layout/hProcess10"/>
    <dgm:cxn modelId="{7D7CF154-4F7B-C843-A186-19CFEF58CA73}" type="presOf" srcId="{501A5BCB-59BA-6644-ADE3-FF6BB9799004}" destId="{987D2FFB-1A88-7443-9C1F-9FF8EEE42B47}" srcOrd="0" destOrd="0" presId="urn:microsoft.com/office/officeart/2005/8/layout/hProcess10"/>
    <dgm:cxn modelId="{2685608C-4DA4-4A4C-A7D9-C76A78379B6B}" type="presOf" srcId="{9735F603-9D81-1649-BA6C-05E6C7526B5D}" destId="{47269634-A08E-D24B-9C83-C0C9EF555F1D}" srcOrd="0" destOrd="0" presId="urn:microsoft.com/office/officeart/2005/8/layout/hProcess10"/>
    <dgm:cxn modelId="{F6EF956E-5858-F841-9C8B-8C1FA4576C30}" srcId="{593549D8-C99C-ED47-90C4-A936931AC1BC}" destId="{11240EE1-E318-1341-B0C5-71CD092D8698}" srcOrd="0" destOrd="0" parTransId="{256C909C-F32C-0E44-9CDE-FC20D10201E3}" sibTransId="{9735F603-9D81-1649-BA6C-05E6C7526B5D}"/>
    <dgm:cxn modelId="{E57EFAF3-9C38-BC4D-8F35-993948E9F57B}" srcId="{593549D8-C99C-ED47-90C4-A936931AC1BC}" destId="{E335024E-41BE-F84F-A071-33243ABC5206}" srcOrd="1" destOrd="0" parTransId="{220981A1-D6F1-A24C-B2A2-0CEDF22852B3}" sibTransId="{501A5BCB-59BA-6644-ADE3-FF6BB9799004}"/>
    <dgm:cxn modelId="{FD064D0C-B82B-DB44-BF79-C386FE820BE5}" type="presOf" srcId="{593549D8-C99C-ED47-90C4-A936931AC1BC}" destId="{4E0B4F92-F6EF-C247-9188-B30D5EE597AF}" srcOrd="0" destOrd="0" presId="urn:microsoft.com/office/officeart/2005/8/layout/hProcess10"/>
    <dgm:cxn modelId="{7B6BFA26-8C7A-7342-A940-BD0C34243059}" type="presOf" srcId="{CCFB1575-4CB0-3E4B-A319-7C4D06DCE7C2}" destId="{C54095A7-6FBB-9549-AE70-BF6114E5907D}" srcOrd="0" destOrd="0" presId="urn:microsoft.com/office/officeart/2005/8/layout/hProcess10"/>
    <dgm:cxn modelId="{A0B59102-EC25-994B-B9DA-D80C76798E15}" type="presOf" srcId="{11240EE1-E318-1341-B0C5-71CD092D8698}" destId="{0CFA5148-333D-274C-888F-3F3F57365AFE}" srcOrd="0" destOrd="0" presId="urn:microsoft.com/office/officeart/2005/8/layout/hProcess10"/>
    <dgm:cxn modelId="{DF4B68F9-5E8C-8A42-987A-E777AEB4337F}" type="presOf" srcId="{501A5BCB-59BA-6644-ADE3-FF6BB9799004}" destId="{CA3043F5-43B9-FA42-A51B-C2C610E364A8}" srcOrd="1" destOrd="0" presId="urn:microsoft.com/office/officeart/2005/8/layout/hProcess10"/>
    <dgm:cxn modelId="{E83D911D-DD18-D548-A51C-86E6BE5D3A70}" srcId="{593549D8-C99C-ED47-90C4-A936931AC1BC}" destId="{CCFB1575-4CB0-3E4B-A319-7C4D06DCE7C2}" srcOrd="2" destOrd="0" parTransId="{86AA4C42-961D-004F-96F2-5AED9EC80341}" sibTransId="{4A14053B-4505-6440-B3FA-83FC7FDFD848}"/>
    <dgm:cxn modelId="{D4AC3100-3024-854C-98FB-F0E38B11A3D3}" type="presParOf" srcId="{4E0B4F92-F6EF-C247-9188-B30D5EE597AF}" destId="{C8E838E2-E9CA-4744-9B88-6602C0F1183C}" srcOrd="0" destOrd="0" presId="urn:microsoft.com/office/officeart/2005/8/layout/hProcess10"/>
    <dgm:cxn modelId="{AE44E55E-211C-D945-A8F7-6C82D32BEB2C}" type="presParOf" srcId="{C8E838E2-E9CA-4744-9B88-6602C0F1183C}" destId="{CB663B4A-AE4B-7844-9D59-312FA69E067F}" srcOrd="0" destOrd="0" presId="urn:microsoft.com/office/officeart/2005/8/layout/hProcess10"/>
    <dgm:cxn modelId="{1ABAA1F4-6472-3342-BBBC-342CBBE4F669}" type="presParOf" srcId="{C8E838E2-E9CA-4744-9B88-6602C0F1183C}" destId="{0CFA5148-333D-274C-888F-3F3F57365AFE}" srcOrd="1" destOrd="0" presId="urn:microsoft.com/office/officeart/2005/8/layout/hProcess10"/>
    <dgm:cxn modelId="{BFFBE0C0-2DF1-3348-A645-A424ED11282C}" type="presParOf" srcId="{4E0B4F92-F6EF-C247-9188-B30D5EE597AF}" destId="{47269634-A08E-D24B-9C83-C0C9EF555F1D}" srcOrd="1" destOrd="0" presId="urn:microsoft.com/office/officeart/2005/8/layout/hProcess10"/>
    <dgm:cxn modelId="{9DA28B27-6053-D544-AF7C-A7A79076C404}" type="presParOf" srcId="{47269634-A08E-D24B-9C83-C0C9EF555F1D}" destId="{5EF8BE7D-6AD9-2742-B088-44988F933E92}" srcOrd="0" destOrd="0" presId="urn:microsoft.com/office/officeart/2005/8/layout/hProcess10"/>
    <dgm:cxn modelId="{5C6045A0-85E3-404E-AF6A-CBE2A1BEEE8F}" type="presParOf" srcId="{4E0B4F92-F6EF-C247-9188-B30D5EE597AF}" destId="{70FE21F3-5153-9D4B-83D5-DEEF18F1C78E}" srcOrd="2" destOrd="0" presId="urn:microsoft.com/office/officeart/2005/8/layout/hProcess10"/>
    <dgm:cxn modelId="{CEA55211-58A3-6842-A98D-C32CB25842C0}" type="presParOf" srcId="{70FE21F3-5153-9D4B-83D5-DEEF18F1C78E}" destId="{91E2FB73-EC9C-A149-BEFB-0146A1D7CD1F}" srcOrd="0" destOrd="0" presId="urn:microsoft.com/office/officeart/2005/8/layout/hProcess10"/>
    <dgm:cxn modelId="{6BE92B92-91A3-D04D-991B-CACB9418CB1C}" type="presParOf" srcId="{70FE21F3-5153-9D4B-83D5-DEEF18F1C78E}" destId="{855BDE32-3FC0-664D-AE0E-366D727EBC86}" srcOrd="1" destOrd="0" presId="urn:microsoft.com/office/officeart/2005/8/layout/hProcess10"/>
    <dgm:cxn modelId="{68077A23-411F-9140-A5B7-AAA9E3AFC34C}" type="presParOf" srcId="{4E0B4F92-F6EF-C247-9188-B30D5EE597AF}" destId="{987D2FFB-1A88-7443-9C1F-9FF8EEE42B47}" srcOrd="3" destOrd="0" presId="urn:microsoft.com/office/officeart/2005/8/layout/hProcess10"/>
    <dgm:cxn modelId="{3006940C-346B-C24D-B47E-33FA0C3755D7}" type="presParOf" srcId="{987D2FFB-1A88-7443-9C1F-9FF8EEE42B47}" destId="{CA3043F5-43B9-FA42-A51B-C2C610E364A8}" srcOrd="0" destOrd="0" presId="urn:microsoft.com/office/officeart/2005/8/layout/hProcess10"/>
    <dgm:cxn modelId="{2D920EC2-CA82-A94A-A26C-9D36E218A6CC}" type="presParOf" srcId="{4E0B4F92-F6EF-C247-9188-B30D5EE597AF}" destId="{6FAF7AE5-4173-6F42-8899-3E2CEB394862}" srcOrd="4" destOrd="0" presId="urn:microsoft.com/office/officeart/2005/8/layout/hProcess10"/>
    <dgm:cxn modelId="{BC9E039E-154B-0947-8879-1FF081F64304}" type="presParOf" srcId="{6FAF7AE5-4173-6F42-8899-3E2CEB394862}" destId="{CA6BDD06-E6B2-9B4F-B775-D66305B25604}" srcOrd="0" destOrd="0" presId="urn:microsoft.com/office/officeart/2005/8/layout/hProcess10"/>
    <dgm:cxn modelId="{E47FB8EF-8CB1-5B42-9A3B-2AA95CEFDF16}" type="presParOf" srcId="{6FAF7AE5-4173-6F42-8899-3E2CEB394862}" destId="{C54095A7-6FBB-9549-AE70-BF6114E5907D}" srcOrd="1" destOrd="0" presId="urn:microsoft.com/office/officeart/2005/8/layout/hProcess10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663B4A-AE4B-7844-9D59-312FA69E067F}">
      <dsp:nvSpPr>
        <dsp:cNvPr id="0" name=""/>
        <dsp:cNvSpPr/>
      </dsp:nvSpPr>
      <dsp:spPr>
        <a:xfrm>
          <a:off x="3031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FA5148-333D-274C-888F-3F3F57365AFE}">
      <dsp:nvSpPr>
        <dsp:cNvPr id="0" name=""/>
        <dsp:cNvSpPr/>
      </dsp:nvSpPr>
      <dsp:spPr>
        <a:xfrm>
          <a:off x="235560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Исполнитель</a:t>
          </a:r>
        </a:p>
      </dsp:txBody>
      <dsp:txXfrm>
        <a:off x="277396" y="1788157"/>
        <a:ext cx="1344720" cy="1344720"/>
      </dsp:txXfrm>
    </dsp:sp>
    <dsp:sp modelId="{47269634-A08E-D24B-9C83-C0C9EF555F1D}">
      <dsp:nvSpPr>
        <dsp:cNvPr id="0" name=""/>
        <dsp:cNvSpPr/>
      </dsp:nvSpPr>
      <dsp:spPr>
        <a:xfrm>
          <a:off x="1706564" y="1431870"/>
          <a:ext cx="275140" cy="3432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1706564" y="1500514"/>
        <a:ext cx="192598" cy="205934"/>
      </dsp:txXfrm>
    </dsp:sp>
    <dsp:sp modelId="{91E2FB73-EC9C-A149-BEFB-0146A1D7CD1F}">
      <dsp:nvSpPr>
        <dsp:cNvPr id="0" name=""/>
        <dsp:cNvSpPr/>
      </dsp:nvSpPr>
      <dsp:spPr>
        <a:xfrm>
          <a:off x="2217539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5BDE32-3FC0-664D-AE0E-366D727EBC86}">
      <dsp:nvSpPr>
        <dsp:cNvPr id="0" name=""/>
        <dsp:cNvSpPr/>
      </dsp:nvSpPr>
      <dsp:spPr>
        <a:xfrm>
          <a:off x="2450068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рганизация</a:t>
          </a:r>
        </a:p>
      </dsp:txBody>
      <dsp:txXfrm>
        <a:off x="2491904" y="1788157"/>
        <a:ext cx="1344720" cy="1344720"/>
      </dsp:txXfrm>
    </dsp:sp>
    <dsp:sp modelId="{987D2FFB-1A88-7443-9C1F-9FF8EEE42B47}">
      <dsp:nvSpPr>
        <dsp:cNvPr id="0" name=""/>
        <dsp:cNvSpPr/>
      </dsp:nvSpPr>
      <dsp:spPr>
        <a:xfrm>
          <a:off x="3921071" y="1431870"/>
          <a:ext cx="275140" cy="3432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3921071" y="1500514"/>
        <a:ext cx="192598" cy="205934"/>
      </dsp:txXfrm>
    </dsp:sp>
    <dsp:sp modelId="{CA6BDD06-E6B2-9B4F-B775-D66305B25604}">
      <dsp:nvSpPr>
        <dsp:cNvPr id="0" name=""/>
        <dsp:cNvSpPr/>
      </dsp:nvSpPr>
      <dsp:spPr>
        <a:xfrm>
          <a:off x="4432046" y="889285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4095A7-6FBB-9549-AE70-BF6114E5907D}">
      <dsp:nvSpPr>
        <dsp:cNvPr id="0" name=""/>
        <dsp:cNvSpPr/>
      </dsp:nvSpPr>
      <dsp:spPr>
        <a:xfrm>
          <a:off x="4664575" y="1746321"/>
          <a:ext cx="1428392" cy="14283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Заказчик</a:t>
          </a:r>
        </a:p>
      </dsp:txBody>
      <dsp:txXfrm>
        <a:off x="4706411" y="1788157"/>
        <a:ext cx="1344720" cy="13447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0">
  <dgm:title val=""/>
  <dgm:desc val=""/>
  <dgm:catLst>
    <dgm:cat type="process" pri="3000"/>
    <dgm:cat type="picture" pri="30000"/>
    <dgm:cat type="pictureconvert" pri="3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op="equ" fact="0.3333"/>
      <dgm:constr type="primFontSz" for="des" forName="txNode" op="equ" val="65"/>
      <dgm:constr type="primFontSz" for="des" forName="connTx" op="equ" val="55"/>
      <dgm:constr type="primFontSz" for="des" forName="connTx" refType="primFontSz" refFor="des" refForName="txNode" op="lte" fact="0.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imagSh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 refType="w" fact="0.14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if>
          <dgm:else name="Name7">
            <dgm:constrLst>
              <dgm:constr type="l" for="ch" forName="imagSh" refType="w" fact="0.14"/>
              <dgm:constr type="w" for="ch" forName="imagSh" refType="w" fact="0.86"/>
              <dgm:constr type="t" for="ch" forName="imagSh"/>
              <dgm:constr type="h" for="ch" forName="imagSh" refType="w" refFor="ch" refForName="imagSh"/>
              <dgm:constr type="l" for="ch" forName="txNode"/>
              <dgm:constr type="w" for="ch" forName="txNode" refType="w" refFor="ch" refForName="imagSh"/>
              <dgm:constr type="t" for="ch" forName="txNode" refType="h" refFor="ch" refForName="imagSh" fact="0.6"/>
              <dgm:constr type="h" for="ch" forName="txNode" refType="h" refFor="ch" refForName="imagSh"/>
            </dgm:constrLst>
          </dgm:else>
        </dgm:choose>
        <dgm:ruleLst/>
        <dgm:layoutNode name="imagSh" styleLbl="b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x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imagSh"/>
            <dgm:param type="dstNode" val="imagSh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35"/>
            <dgm:constr type="endPad" refType="connDist" fact="0.3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2900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95282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03240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577275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59922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82100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45710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3524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882588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48356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95296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528866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19788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119535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73231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27196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5073562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36813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45706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8432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98001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158025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331755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03956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284115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6270877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5711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96650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7754222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5134183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000077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980073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781378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610616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378801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8607372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78870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89286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80"/>
            <a:ext cx="5792746" cy="246734"/>
          </a:xfrm>
          <a:noFill/>
          <a:ln/>
        </p:spPr>
        <p:txBody>
          <a:bodyPr/>
          <a:lstStyle/>
          <a:p>
            <a:endParaRPr lang="ru-RU"/>
          </a:p>
        </p:txBody>
      </p:sp>
      <p:sp>
        <p:nvSpPr>
          <p:cNvPr id="20485" name="Дата 5"/>
          <p:cNvSpPr>
            <a:spLocks noGrp="1"/>
          </p:cNvSpPr>
          <p:nvPr>
            <p:ph type="dt" sz="quarter" idx="1"/>
          </p:nvPr>
        </p:nvSpPr>
        <p:spPr>
          <a:xfrm>
            <a:off x="3850295" y="2"/>
            <a:ext cx="2945862" cy="495793"/>
          </a:xfrm>
          <a:prstGeom prst="rect">
            <a:avLst/>
          </a:prstGeom>
          <a:noFill/>
        </p:spPr>
        <p:txBody>
          <a:bodyPr lIns="88213" tIns="44106" rIns="88213" bIns="44106"/>
          <a:lstStyle/>
          <a:p>
            <a:endParaRPr lang="ru-RU" sz="1600">
              <a:solidFill>
                <a:srgbClr val="000000"/>
              </a:solidFill>
              <a:latin typeface="Arial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488618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2467968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71203853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017456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7545577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442309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03951781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945578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54735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88783492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56333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824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7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59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799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8005826" y="106362"/>
            <a:ext cx="887412" cy="78581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92200" y="204239"/>
            <a:ext cx="6959600" cy="585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9374" y="2000305"/>
            <a:ext cx="7985251" cy="2480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00317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7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1524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-10" dirty="0"/>
              <a:t>‹#›</a:t>
            </a:fld>
            <a:endParaRPr spc="-1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psr@rosatom.r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13.jp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14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15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761"/>
            <a:ext cx="1270" cy="0"/>
          </a:xfrm>
          <a:custGeom>
            <a:avLst/>
            <a:gdLst/>
            <a:ahLst/>
            <a:cxnLst/>
            <a:rect l="l" t="t" r="r" b="b"/>
            <a:pathLst>
              <a:path w="1270">
                <a:moveTo>
                  <a:pt x="1524" y="0"/>
                </a:moveTo>
                <a:lnTo>
                  <a:pt x="762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0"/>
            <a:ext cx="1905" cy="0"/>
          </a:xfrm>
          <a:custGeom>
            <a:avLst/>
            <a:gdLst/>
            <a:ahLst/>
            <a:cxnLst/>
            <a:rect l="l" t="t" r="r" b="b"/>
            <a:pathLst>
              <a:path w="1905">
                <a:moveTo>
                  <a:pt x="127" y="0"/>
                </a:moveTo>
                <a:lnTo>
                  <a:pt x="1778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293109" y="4617846"/>
            <a:ext cx="5850889" cy="22401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0" y="63372"/>
            <a:ext cx="9127743" cy="18821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511795" y="199085"/>
            <a:ext cx="1360170" cy="107269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600252" y="2547763"/>
            <a:ext cx="8155940" cy="13903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30000"/>
              </a:lnSpc>
            </a:pP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</a:t>
            </a:r>
            <a:r>
              <a:rPr sz="24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ичес</a:t>
            </a:r>
            <a:r>
              <a:rPr sz="2400" b="1" spc="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4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sz="24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ендации</a:t>
            </a:r>
            <a:r>
              <a:rPr sz="2400" b="1" spc="-6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</a:t>
            </a:r>
            <a:r>
              <a:rPr sz="2400" b="1" spc="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2400" b="1" spc="-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b="1" spc="-25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 algn="ctr">
              <a:lnSpc>
                <a:spcPct val="130000"/>
              </a:lnSpc>
            </a:pP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р</a:t>
            </a:r>
            <a:r>
              <a:rPr sz="2400" b="1" spc="-4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рской</a:t>
            </a:r>
            <a:r>
              <a:rPr sz="2400" b="1" spc="-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</a:t>
            </a:r>
            <a:r>
              <a:rPr sz="2400" b="1" spc="-4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чес</a:t>
            </a:r>
            <a:r>
              <a:rPr sz="2400" b="1" spc="-3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400" b="1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 </a:t>
            </a:r>
          </a:p>
          <a:p>
            <a:pPr marL="12700" marR="5080" algn="ctr">
              <a:lnSpc>
                <a:spcPct val="130000"/>
              </a:lnSpc>
            </a:pP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24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4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38200" y="5791200"/>
            <a:ext cx="882015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600" spc="-20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600" spc="-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к</a:t>
            </a:r>
            <a:r>
              <a:rPr sz="1600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endParaRPr lang="en-US" sz="1600" spc="-10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en-US" sz="1600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3200" y="216670"/>
            <a:ext cx="855217" cy="10211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иповой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843259"/>
              </p:ext>
            </p:extLst>
          </p:nvPr>
        </p:nvGraphicFramePr>
        <p:xfrm>
          <a:off x="251523" y="961696"/>
          <a:ext cx="8641014" cy="46876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9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06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5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157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9243">
                <a:tc>
                  <a:txBody>
                    <a:bodyPr/>
                    <a:lstStyle/>
                    <a:p>
                      <a:pPr marL="2857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е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ият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ники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6200">
                        <a:lnSpc>
                          <a:spcPct val="100000"/>
                        </a:lnSpc>
                      </a:pPr>
                      <a:r>
                        <a:rPr sz="1100" b="1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з</a:t>
                      </a:r>
                      <a:r>
                        <a:rPr sz="1100" b="1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b="1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b="1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тат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12700">
                      <a:solidFill>
                        <a:srgbClr val="414142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8119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1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130" marR="329565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а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ы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с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тав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ми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4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 (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чно или дистанционно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32956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15900" marR="405765">
                        <a:lnSpc>
                          <a:spcPct val="100000"/>
                        </a:lnSpc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частники от организации,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ов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ли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952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а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9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с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ь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spc="-8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эксп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лены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1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ы</a:t>
                      </a:r>
                      <a:r>
                        <a:rPr sz="1100" spc="1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ен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1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ен</a:t>
                      </a:r>
                      <a:r>
                        <a:rPr sz="1100" spc="14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стр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</a:t>
                      </a:r>
                      <a:endParaRPr sz="1100" dirty="0" smtClean="0">
                        <a:latin typeface="Arial"/>
                        <a:cs typeface="Arial"/>
                      </a:endParaRPr>
                    </a:p>
                    <a:p>
                      <a:pPr marL="248285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е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о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(при очной проверке)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р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я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ой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стр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T w="12700">
                      <a:solidFill>
                        <a:srgbClr val="414142"/>
                      </a:solidFill>
                      <a:prstDash val="soli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3357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2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208279">
                        <a:lnSpc>
                          <a:spcPct val="100000"/>
                        </a:lnSpc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ор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 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к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 пр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одственным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оф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н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м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 д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тов,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дение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тервью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.п</a:t>
                      </a:r>
                      <a:r>
                        <a:rPr sz="1100" spc="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.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ни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о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 не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и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114425" algn="l"/>
                          <a:tab pos="1858010" algn="l"/>
                          <a:tab pos="2577465" algn="l"/>
                          <a:tab pos="37160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едена	пров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	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зца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7620">
                        <a:lnSpc>
                          <a:spcPct val="100000"/>
                        </a:lnSpc>
                        <a:tabLst>
                          <a:tab pos="614045" algn="l"/>
                          <a:tab pos="1318260" algn="l"/>
                          <a:tab pos="2520950" algn="l"/>
                          <a:tab pos="3362325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«на	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с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»,	пр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в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	зап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нены	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м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в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ш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д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ены</a:t>
                      </a:r>
                      <a:r>
                        <a:rPr sz="1100" spc="-3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ы</a:t>
                      </a:r>
                      <a:r>
                        <a:rPr sz="1100" spc="-2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в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6350" indent="-172085" algn="just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рана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  </a:t>
                      </a:r>
                      <a:r>
                        <a:rPr sz="1100" spc="1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  </a:t>
                      </a:r>
                      <a:r>
                        <a:rPr sz="1100" spc="15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б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ъе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,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о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ном  </a:t>
                      </a:r>
                      <a:r>
                        <a:rPr sz="1100" spc="14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я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к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618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56832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об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щ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spc="-6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1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б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фо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ц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и 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г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в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lang="ru-RU" sz="1100" spc="-4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</a:t>
                      </a:r>
                    </a:p>
                    <a:p>
                      <a:pPr marL="24130" marR="56832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, с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н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организации</a:t>
                      </a:r>
                      <a:r>
                        <a:rPr lang="ru-RU"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(по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 необ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х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д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15900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нчат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но</a:t>
                      </a:r>
                      <a:r>
                        <a:rPr sz="1100" spc="-4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лнены</a:t>
                      </a:r>
                      <a:r>
                        <a:rPr sz="1100" spc="-2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е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-л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ты</a:t>
                      </a:r>
                      <a:r>
                        <a:rPr sz="1100" spc="-3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sz="1100" spc="-1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направлен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я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248285" marR="0" indent="-172085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14142"/>
                        </a:buClr>
                        <a:buSzTx/>
                        <a:buFont typeface="Arial"/>
                        <a:buChar char="•"/>
                        <a:tabLst>
                          <a:tab pos="248920" algn="l"/>
                        </a:tabLst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ф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	л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ш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	пра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	и	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ндац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 по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вышению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че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тве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а</a:t>
                      </a:r>
                      <a:r>
                        <a:rPr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пр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ергн</a:t>
                      </a:r>
                      <a:r>
                        <a:rPr sz="1100" spc="-1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</a:t>
                      </a:r>
                      <a:r>
                        <a:rPr sz="1100" spc="-5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</a:t>
                      </a:r>
                      <a:r>
                        <a:rPr sz="1100" spc="-1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5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dirty="0" err="1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ценка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рганизаци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5665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4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34290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бс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5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водного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а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 и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ов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342900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 marR="410209">
                        <a:lnSpc>
                          <a:spcPct val="100000"/>
                        </a:lnSpc>
                      </a:pP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825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946785" algn="l"/>
                          <a:tab pos="1588135" algn="l"/>
                          <a:tab pos="2009139" algn="l"/>
                          <a:tab pos="3223895" algn="l"/>
                        </a:tabLst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частники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обсудил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ов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ки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аполнен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к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</a:tabLst>
                      </a:pP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г</a:t>
                      </a:r>
                      <a:r>
                        <a:rPr lang="ru-RU" sz="1100" spc="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с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ваны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з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льт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ы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8285" marR="7620" indent="-172085">
                        <a:lnSpc>
                          <a:spcPct val="100000"/>
                        </a:lnSpc>
                        <a:buClr>
                          <a:srgbClr val="414142"/>
                        </a:buClr>
                        <a:buFont typeface="Arial"/>
                        <a:buChar char="•"/>
                        <a:tabLst>
                          <a:tab pos="248920" algn="l"/>
                          <a:tab pos="1455420" algn="l"/>
                          <a:tab pos="2105025" algn="l"/>
                          <a:tab pos="2836545" algn="l"/>
                          <a:tab pos="3071495" algn="l"/>
                        </a:tabLst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8152">
                <a:tc>
                  <a:txBody>
                    <a:bodyPr/>
                    <a:lstStyle/>
                    <a:p>
                      <a:pPr marL="6794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5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130" marR="608965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  <a:p>
                      <a:pPr marL="24130" marR="608965">
                        <a:lnSpc>
                          <a:spcPct val="100000"/>
                        </a:lnSpc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159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ГД</a:t>
                      </a:r>
                      <a:r>
                        <a:rPr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sz="1100" spc="-3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5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sz="1100" spc="-1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sz="1100" dirty="0" err="1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а</a:t>
                      </a:r>
                      <a:r>
                        <a:rPr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spc="-5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</a:t>
                      </a:r>
                      <a:r>
                        <a:rPr lang="ru-RU" sz="1100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48285" marR="8255" indent="-172085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14142"/>
                        </a:buClr>
                        <a:buSzTx/>
                        <a:buFont typeface="Arial"/>
                        <a:buChar char="•"/>
                        <a:tabLst>
                          <a:tab pos="248920" algn="l"/>
                          <a:tab pos="946785" algn="l"/>
                          <a:tab pos="1588135" algn="l"/>
                          <a:tab pos="2009139" algn="l"/>
                          <a:tab pos="3223895" algn="l"/>
                        </a:tabLst>
                        <a:defRPr/>
                      </a:pPr>
                      <a:r>
                        <a:rPr lang="ru-RU" sz="1100" spc="-2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spc="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о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анд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о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д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сан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член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м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и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П</a:t>
                      </a:r>
                      <a:r>
                        <a:rPr lang="ru-RU" sz="1100" spc="-1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, </a:t>
                      </a:r>
                      <a:r>
                        <a:rPr lang="ru-RU" sz="1100" spc="-1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у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ве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р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жден</a:t>
                      </a:r>
                      <a:r>
                        <a:rPr lang="ru-RU" sz="1100" spc="-2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редседа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т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елем</a:t>
                      </a:r>
                      <a:r>
                        <a:rPr lang="ru-RU" sz="1100" spc="-3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КО (при дистанционном формате</a:t>
                      </a:r>
                      <a:r>
                        <a:rPr lang="ru-RU" sz="1100" baseline="0" dirty="0" smtClean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 допускается подписание скан-копий только председателем ППКО и руководителем организации)</a:t>
                      </a:r>
                      <a:endParaRPr lang="ru-RU" sz="1100" dirty="0" smtClean="0">
                        <a:latin typeface="Arial"/>
                        <a:cs typeface="Arial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object 8">
            <a:extLst>
              <a:ext uri="{FF2B5EF4-FFF2-40B4-BE49-F238E27FC236}">
                <a16:creationId xmlns:a16="http://schemas.microsoft.com/office/drawing/2014/main" id="{8E353C2C-A4BA-4012-BA4F-CE5B6ACD2D8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629400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186304" y="1873072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69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2186304" y="3799789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180652" y="4711483"/>
            <a:ext cx="1044575" cy="204470"/>
          </a:xfrm>
          <a:custGeom>
            <a:avLst/>
            <a:gdLst/>
            <a:ahLst/>
            <a:cxnLst/>
            <a:rect l="l" t="t" r="r" b="b"/>
            <a:pathLst>
              <a:path w="1044575" h="204470">
                <a:moveTo>
                  <a:pt x="0" y="204266"/>
                </a:moveTo>
                <a:lnTo>
                  <a:pt x="1044003" y="204266"/>
                </a:lnTo>
                <a:lnTo>
                  <a:pt x="1044003" y="0"/>
                </a:lnTo>
                <a:lnTo>
                  <a:pt x="0" y="0"/>
                </a:lnTo>
                <a:lnTo>
                  <a:pt x="0" y="2042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6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мирования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ли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ы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51536" y="1448435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51536" y="1448435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46773" y="1443736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22754" y="1425575"/>
            <a:ext cx="981075" cy="0"/>
          </a:xfrm>
          <a:custGeom>
            <a:avLst/>
            <a:gdLst/>
            <a:ahLst/>
            <a:cxnLst/>
            <a:rect l="l" t="t" r="r" b="b"/>
            <a:pathLst>
              <a:path w="981075">
                <a:moveTo>
                  <a:pt x="0" y="0"/>
                </a:moveTo>
                <a:lnTo>
                  <a:pt x="981075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09292" y="1452108"/>
            <a:ext cx="874394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51523" y="2097658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1536" y="2157348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51536" y="2157348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46773" y="2152650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0759" y="990525"/>
            <a:ext cx="1979295" cy="3975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spc="-1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100" b="1" u="sng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те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u="sng" spc="-6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b="1" u="sng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b="1" u="sng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ники: 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1755">
              <a:lnSpc>
                <a:spcPct val="100000"/>
              </a:lnSpc>
              <a:spcBef>
                <a:spcPts val="620"/>
              </a:spcBef>
            </a:pPr>
            <a:r>
              <a:rPr sz="1000" b="1" u="sng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u="sng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н</a:t>
            </a:r>
            <a:r>
              <a:rPr sz="1000" b="1" u="sng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u="sng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b="1" u="sng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u="sng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b="1" u="sng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b="1" u="sng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45337" y="1452108"/>
            <a:ext cx="122047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а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ГД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212085" y="1118987"/>
            <a:ext cx="74993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b="1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ль</a:t>
            </a:r>
            <a:r>
              <a:rPr sz="1000" b="1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лена</a:t>
            </a:r>
            <a:r>
              <a:rPr sz="1000" b="1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b="1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04159" y="1235700"/>
            <a:ext cx="385699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ды</a:t>
            </a:r>
            <a:r>
              <a:rPr sz="1000" spc="2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ует работу всех участников ППКО, принимает итоговое решение, опираясь и учитывая мнение остальных членов команды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50823" y="2166229"/>
            <a:ext cx="92265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6835">
              <a:lnSpc>
                <a:spcPct val="100000"/>
              </a:lnSpc>
            </a:pP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отрудники центров компетенций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ПО БП регион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209292" y="2166229"/>
            <a:ext cx="59372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253096" y="1235700"/>
            <a:ext cx="1706245" cy="825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000" b="1" u="sng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у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u="sng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</a:t>
            </a:r>
            <a:r>
              <a:rPr sz="1000" b="1" u="sng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ва</a:t>
            </a:r>
            <a:r>
              <a:rPr sz="1000" b="1" u="sng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b="1" u="sng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: 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  <a:spcBef>
                <a:spcPts val="505"/>
              </a:spcBef>
            </a:pP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но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бы</a:t>
            </a:r>
            <a:r>
              <a:rPr sz="1000" spc="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ы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а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гично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ка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та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304159" y="2193706"/>
            <a:ext cx="362966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т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нѐ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ется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в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ию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z="1000" spc="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оз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р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у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р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ыд</a:t>
            </a:r>
            <a:r>
              <a:rPr sz="10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щ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000" spc="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о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на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к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м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й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253096" y="2166229"/>
            <a:ext cx="1674495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18415">
              <a:lnSpc>
                <a:spcPct val="100000"/>
              </a:lnSpc>
            </a:pP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 должны иметь опыт руководства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</a:t>
            </a:r>
            <a:r>
              <a:rPr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улучшениям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32384"/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ьно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бы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в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те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ы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на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гичных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</a:t>
            </a:r>
          </a:p>
          <a:p>
            <a:pPr marL="12700" marR="32384"/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ем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я</a:t>
            </a:r>
            <a:r>
              <a:rPr lang="ru-RU" sz="1000" spc="-2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хо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000" spc="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нт</a:t>
            </a:r>
            <a:r>
              <a:rPr lang="ru-RU" sz="10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БП </a:t>
            </a:r>
            <a:r>
              <a:rPr lang="ru-RU" sz="10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45871" y="3804280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245884" y="3859525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3"/>
                </a:moveTo>
                <a:lnTo>
                  <a:pt x="467042" y="592963"/>
                </a:lnTo>
                <a:lnTo>
                  <a:pt x="467042" y="0"/>
                </a:lnTo>
                <a:lnTo>
                  <a:pt x="0" y="0"/>
                </a:lnTo>
                <a:lnTo>
                  <a:pt x="0" y="59296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45884" y="3859525"/>
            <a:ext cx="467042" cy="5929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241121" y="3854699"/>
            <a:ext cx="476884" cy="602615"/>
          </a:xfrm>
          <a:custGeom>
            <a:avLst/>
            <a:gdLst/>
            <a:ahLst/>
            <a:cxnLst/>
            <a:rect l="l" t="t" r="r" b="b"/>
            <a:pathLst>
              <a:path w="476884" h="602614">
                <a:moveTo>
                  <a:pt x="0" y="602488"/>
                </a:moveTo>
                <a:lnTo>
                  <a:pt x="476567" y="602488"/>
                </a:lnTo>
                <a:lnTo>
                  <a:pt x="476567" y="0"/>
                </a:lnTo>
                <a:lnTo>
                  <a:pt x="0" y="0"/>
                </a:lnTo>
                <a:lnTo>
                  <a:pt x="0" y="602488"/>
                </a:lnTo>
                <a:close/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46086" y="3846942"/>
            <a:ext cx="137731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тр</a:t>
            </a:r>
            <a:r>
              <a:rPr sz="10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к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ко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ц</a:t>
            </a:r>
            <a:r>
              <a:rPr lang="ru-RU"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544830" algn="ctr">
              <a:lnSpc>
                <a:spcPct val="100000"/>
              </a:lnSpc>
            </a:pP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ат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»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indent="-77470">
              <a:lnSpc>
                <a:spcPct val="100000"/>
              </a:lnSpc>
              <a:buClr>
                <a:srgbClr val="737373"/>
              </a:buClr>
              <a:buFont typeface="Arial"/>
              <a:buChar char="•"/>
              <a:tabLst>
                <a:tab pos="90805" algn="l"/>
              </a:tabLst>
            </a:pP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«П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203640" y="3868913"/>
            <a:ext cx="7321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2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г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293782" y="3928390"/>
            <a:ext cx="3330893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я проверяемого образца: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– 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00%</a:t>
            </a:r>
            <a:endParaRPr lang="ru-RU" sz="1000" spc="-15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– 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орочно по решению ГК «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 – не участвует</a:t>
            </a: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ый</a:t>
            </a: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100% в период 2022-2023 </a:t>
            </a:r>
            <a:r>
              <a:rPr lang="ru-RU"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г.г</a:t>
            </a:r>
            <a:endParaRPr lang="ru-RU" sz="1000" spc="-15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84150" indent="-171450">
              <a:lnSpc>
                <a:spcPct val="100000"/>
              </a:lnSpc>
              <a:buFontTx/>
              <a:buChar char="-"/>
            </a:pPr>
            <a:r>
              <a:rPr lang="ru-RU" sz="1000" spc="-1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более 1 человек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14121" y="5155075"/>
            <a:ext cx="8713470" cy="0"/>
          </a:xfrm>
          <a:custGeom>
            <a:avLst/>
            <a:gdLst/>
            <a:ahLst/>
            <a:cxnLst/>
            <a:rect l="l" t="t" r="r" b="b"/>
            <a:pathLst>
              <a:path w="8713470">
                <a:moveTo>
                  <a:pt x="0" y="0"/>
                </a:moveTo>
                <a:lnTo>
                  <a:pt x="8713025" y="0"/>
                </a:lnTo>
              </a:path>
            </a:pathLst>
          </a:custGeom>
          <a:ln w="9525">
            <a:solidFill>
              <a:srgbClr val="414142"/>
            </a:solidFill>
            <a:prstDash val="dash"/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70586" y="5045108"/>
            <a:ext cx="467359" cy="593090"/>
          </a:xfrm>
          <a:custGeom>
            <a:avLst/>
            <a:gdLst/>
            <a:ahLst/>
            <a:cxnLst/>
            <a:rect l="l" t="t" r="r" b="b"/>
            <a:pathLst>
              <a:path w="467359" h="593089">
                <a:moveTo>
                  <a:pt x="0" y="592962"/>
                </a:moveTo>
                <a:lnTo>
                  <a:pt x="467042" y="592962"/>
                </a:lnTo>
                <a:lnTo>
                  <a:pt x="467042" y="0"/>
                </a:lnTo>
                <a:lnTo>
                  <a:pt x="0" y="0"/>
                </a:lnTo>
                <a:lnTo>
                  <a:pt x="0" y="59296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2227072" y="2390712"/>
            <a:ext cx="57594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247444" y="3868913"/>
            <a:ext cx="159702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отр</a:t>
            </a:r>
            <a:r>
              <a:rPr sz="1000" spc="-4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ик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оман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000" spc="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3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2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ющ</a:t>
            </a:r>
            <a:r>
              <a:rPr sz="1000" spc="-1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егионе направление </a:t>
            </a:r>
            <a:r>
              <a:rPr sz="1000" spc="-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ем</a:t>
            </a:r>
            <a:r>
              <a:rPr lang="ru-RU"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й</a:t>
            </a:r>
            <a:r>
              <a:rPr sz="10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т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,</a:t>
            </a:r>
            <a:r>
              <a:rPr sz="10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10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80746" y="5443712"/>
            <a:ext cx="8053452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я команда ППКО 3-7</a:t>
            </a:r>
            <a:r>
              <a:rPr sz="10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5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b="1" spc="-1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овек</a:t>
            </a: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ускается участие стажеров от других регионов или АО»ПСР» без права голосования. Стажеры имеют право высказывать свои соображения курирующему их члену команды ППКО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8">
            <a:extLst>
              <a:ext uri="{FF2B5EF4-FFF2-40B4-BE49-F238E27FC236}">
                <a16:creationId xmlns:a16="http://schemas.microsoft.com/office/drawing/2014/main" id="{81D4A778-3CA4-4D5D-AA62-9BFA9226A4E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577904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с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т</a:t>
            </a:r>
            <a:r>
              <a:rPr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</a:t>
            </a:r>
            <a:r>
              <a:rPr sz="2000" b="1" spc="-5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2000" b="1" spc="-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2000" b="1" spc="-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2000" b="1" spc="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3200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Команда ППКО заполняет чек-листы по направлениям (Приложение 1), обсуждает результаты заполнения , если чек-листы по направлению заполняли более одного человека, и находит консенсус. Подсчет результатов проводится по итоговому чек-листу в следующем порядке: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лоч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адрате</a:t>
            </a:r>
            <a:r>
              <a:rPr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з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ет</a:t>
            </a:r>
            <a:r>
              <a:rPr sz="16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а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-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ста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sz="16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</a:t>
            </a:r>
            <a:r>
              <a:rPr sz="1600" b="1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marR="8890" indent="-342900">
              <a:lnSpc>
                <a:spcPct val="110000"/>
              </a:lnSpc>
              <a:spcBef>
                <a:spcPts val="1065"/>
              </a:spcBef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9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9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, региональный, федеральный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04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8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2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ет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как отношен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ов</a:t>
            </a:r>
            <a:r>
              <a:rPr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тов</a:t>
            </a:r>
            <a:r>
              <a:rPr sz="1600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к</a:t>
            </a:r>
            <a:r>
              <a:rPr sz="1600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М,Р,Ф) 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0,10,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т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>
              <a:lnSpc>
                <a:spcPct val="100000"/>
              </a:lnSpc>
              <a:spcBef>
                <a:spcPts val="500"/>
              </a:spcBef>
            </a:pP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им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р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</a:t>
            </a:r>
            <a:r>
              <a:rPr sz="1400" b="1" spc="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b="1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spc="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400" b="1" spc="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</a:t>
            </a:r>
            <a:r>
              <a:rPr sz="14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о</a:t>
            </a:r>
            <a:r>
              <a:rPr sz="1400" b="1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4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чит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b="1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>
              <a:lnSpc>
                <a:spcPct val="100000"/>
              </a:lnSpc>
              <a:spcBef>
                <a:spcPts val="170"/>
              </a:spcBef>
            </a:pP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й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400" b="1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sz="14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sz="1400" b="1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4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</a:t>
            </a:r>
            <a:r>
              <a:rPr sz="14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92405" marR="6985">
              <a:lnSpc>
                <a:spcPct val="110000"/>
              </a:lnSpc>
              <a:spcBef>
                <a:spcPts val="300"/>
              </a:spcBef>
            </a:pP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п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нение</a:t>
            </a:r>
            <a:r>
              <a:rPr sz="1400" b="1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400" b="1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о</a:t>
            </a:r>
            <a:r>
              <a:rPr sz="1400" b="1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</a:t>
            </a:r>
            <a:r>
              <a:rPr sz="1400" b="1" spc="3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sz="1400" b="1" spc="2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sz="1400" b="1" spc="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ЯЕ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</a:t>
            </a:r>
            <a:r>
              <a:rPr sz="1400" b="1" spc="4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spc="-1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С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3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sz="1400" b="1" spc="-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400" b="1" spc="15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я оценки направления, по решению председателя комиссии ППКО может быть прекращена</a:t>
            </a:r>
            <a:r>
              <a:rPr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ru-RU" sz="1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7">
            <a:extLst>
              <a:ext uri="{FF2B5EF4-FFF2-40B4-BE49-F238E27FC236}">
                <a16:creationId xmlns:a16="http://schemas.microsoft.com/office/drawing/2014/main" id="{CE72C8DB-F3D2-49AA-A001-1CADDB67CD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047029"/>
              </p:ext>
            </p:extLst>
          </p:nvPr>
        </p:nvGraphicFramePr>
        <p:xfrm>
          <a:off x="381000" y="4512423"/>
          <a:ext cx="8153400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67200">
                  <a:extLst>
                    <a:ext uri="{9D8B030D-6E8A-4147-A177-3AD203B41FA5}">
                      <a16:colId xmlns:a16="http://schemas.microsoft.com/office/drawing/2014/main" val="2192155046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194171613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375890046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246993702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1077475971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b="1" u="sng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ия достижения «зеленого» статуса </a:t>
                      </a: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а выполнены для уровня: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ие критериев уровня, %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368271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1233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5196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ль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054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 и более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579791"/>
                  </a:ext>
                </a:extLst>
              </a:tr>
            </a:tbl>
          </a:graphicData>
        </a:graphic>
      </p:graphicFrame>
      <p:sp>
        <p:nvSpPr>
          <p:cNvPr id="9" name="Овал 8">
            <a:extLst>
              <a:ext uri="{FF2B5EF4-FFF2-40B4-BE49-F238E27FC236}">
                <a16:creationId xmlns:a16="http://schemas.microsoft.com/office/drawing/2014/main" id="{1FE7CFBB-7D43-4A69-80D6-7A116F976D61}"/>
              </a:ext>
            </a:extLst>
          </p:cNvPr>
          <p:cNvSpPr/>
          <p:nvPr/>
        </p:nvSpPr>
        <p:spPr>
          <a:xfrm>
            <a:off x="5029200" y="5334000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4BBA91A7-2211-40C8-9B38-4E7400D8E1DE}"/>
              </a:ext>
            </a:extLst>
          </p:cNvPr>
          <p:cNvSpPr/>
          <p:nvPr/>
        </p:nvSpPr>
        <p:spPr>
          <a:xfrm>
            <a:off x="5029200" y="5697911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342DC983-02EA-4001-88F8-88720293AB6D}"/>
              </a:ext>
            </a:extLst>
          </p:cNvPr>
          <p:cNvSpPr/>
          <p:nvPr/>
        </p:nvSpPr>
        <p:spPr>
          <a:xfrm>
            <a:off x="5029200" y="6057511"/>
            <a:ext cx="228600" cy="228600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24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81429" y="116674"/>
            <a:ext cx="653295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. Образец </a:t>
            </a:r>
            <a:r>
              <a:rPr lang="ru-RU" sz="2000" b="1" spc="-10" dirty="0" err="1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ого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тока создания ценности – определение и проверка</a:t>
            </a:r>
            <a:endParaRPr lang="ru-RU" sz="2000" b="1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62572" y="1066800"/>
            <a:ext cx="8618855" cy="24622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 </a:t>
            </a:r>
            <a:r>
              <a:rPr lang="ru-RU" sz="16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организационного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тока создания ценности (например, сквозного потока развития бережливой личности) – это упорядоченное множество организаций, каждая из которых выступает в роли Исполнителя, Заказчика или двух ролях одновременно (см. следующий слайд). 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одтверждение качества образца такого потока проводится по каждому элементу МПСЦ с учетом его роли(ей). Уровень образца МПСЦ равен минимальному из уровней образцов, входящих в МПСЦ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«зеленого» статуса образца по ролям, в которых он выступает, проводится при выполнении не менее 80%  критериев из соответствующего чек-листа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образец в МПСЦ выступает в двух ролях, для достижения «зеленого» статуса необходимо наличие «зеленого» статуса по каждой роли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74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90579F6B-1ECC-9B47-B46C-A0569C5A433F}"/>
              </a:ext>
            </a:extLst>
          </p:cNvPr>
          <p:cNvSpPr txBox="1">
            <a:spLocks/>
          </p:cNvSpPr>
          <p:nvPr/>
        </p:nvSpPr>
        <p:spPr>
          <a:xfrm>
            <a:off x="1524000" y="228600"/>
            <a:ext cx="6561138" cy="353943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kern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как Исполнитель заказа и/или Заказчик</a:t>
            </a:r>
            <a:endParaRPr lang="ru-RU" b="1" kern="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30B929EE-0341-5B45-849C-1501100B4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7315988"/>
              </p:ext>
            </p:extLst>
          </p:nvPr>
        </p:nvGraphicFramePr>
        <p:xfrm>
          <a:off x="1447800" y="1066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Стрелка влево 8">
            <a:extLst>
              <a:ext uri="{FF2B5EF4-FFF2-40B4-BE49-F238E27FC236}">
                <a16:creationId xmlns:a16="http://schemas.microsoft.com/office/drawing/2014/main" id="{E2B62126-6EF5-AC46-AD39-DF4BF56601E8}"/>
              </a:ext>
            </a:extLst>
          </p:cNvPr>
          <p:cNvSpPr/>
          <p:nvPr/>
        </p:nvSpPr>
        <p:spPr>
          <a:xfrm>
            <a:off x="5359400" y="3651450"/>
            <a:ext cx="701040" cy="26665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трелка влево 9">
            <a:extLst>
              <a:ext uri="{FF2B5EF4-FFF2-40B4-BE49-F238E27FC236}">
                <a16:creationId xmlns:a16="http://schemas.microsoft.com/office/drawing/2014/main" id="{447D37DB-566D-5349-A141-0002F222382D}"/>
              </a:ext>
            </a:extLst>
          </p:cNvPr>
          <p:cNvSpPr/>
          <p:nvPr/>
        </p:nvSpPr>
        <p:spPr>
          <a:xfrm>
            <a:off x="3134360" y="3651451"/>
            <a:ext cx="721360" cy="33777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1B92F69-D189-074A-9941-88D96805B614}"/>
              </a:ext>
            </a:extLst>
          </p:cNvPr>
          <p:cNvSpPr txBox="1"/>
          <p:nvPr/>
        </p:nvSpPr>
        <p:spPr>
          <a:xfrm>
            <a:off x="5834084" y="4449093"/>
            <a:ext cx="20939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МПСЦ (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заказа.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1.4.1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CAB553-234C-5242-93A4-D5D7C0BD01F6}"/>
              </a:ext>
            </a:extLst>
          </p:cNvPr>
          <p:cNvSpPr txBox="1"/>
          <p:nvPr/>
        </p:nvSpPr>
        <p:spPr>
          <a:xfrm>
            <a:off x="1566632" y="4503203"/>
            <a:ext cx="20939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в МПСЦ (З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 исполнителю.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1.4.2.</a:t>
            </a:r>
          </a:p>
        </p:txBody>
      </p:sp>
      <p:sp>
        <p:nvSpPr>
          <p:cNvPr id="13" name="Дуга 12">
            <a:extLst>
              <a:ext uri="{FF2B5EF4-FFF2-40B4-BE49-F238E27FC236}">
                <a16:creationId xmlns:a16="http://schemas.microsoft.com/office/drawing/2014/main" id="{9B7FDF38-AB3C-2544-8B8C-2358E4D47AE5}"/>
              </a:ext>
            </a:extLst>
          </p:cNvPr>
          <p:cNvSpPr/>
          <p:nvPr/>
        </p:nvSpPr>
        <p:spPr>
          <a:xfrm>
            <a:off x="3258344" y="2884987"/>
            <a:ext cx="2819400" cy="2292984"/>
          </a:xfrm>
          <a:prstGeom prst="arc">
            <a:avLst>
              <a:gd name="adj1" fmla="val 16200000"/>
              <a:gd name="adj2" fmla="val 1602016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трелка вверх 13"/>
          <p:cNvSpPr/>
          <p:nvPr/>
        </p:nvSpPr>
        <p:spPr>
          <a:xfrm rot="2963480">
            <a:off x="3603882" y="4071640"/>
            <a:ext cx="174284" cy="638971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трелка влево 14">
            <a:extLst>
              <a:ext uri="{FF2B5EF4-FFF2-40B4-BE49-F238E27FC236}">
                <a16:creationId xmlns:a16="http://schemas.microsoft.com/office/drawing/2014/main" id="{E2B62126-6EF5-AC46-AD39-DF4BF56601E8}"/>
              </a:ext>
            </a:extLst>
          </p:cNvPr>
          <p:cNvSpPr/>
          <p:nvPr/>
        </p:nvSpPr>
        <p:spPr>
          <a:xfrm rot="2133658">
            <a:off x="5242650" y="4304765"/>
            <a:ext cx="701040" cy="172720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74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95400" y="25400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статуса – повторное проведение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018251"/>
              </p:ext>
            </p:extLst>
          </p:nvPr>
        </p:nvGraphicFramePr>
        <p:xfrm>
          <a:off x="184009" y="2489907"/>
          <a:ext cx="8632159" cy="18547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74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81750">
                  <a:extLst>
                    <a:ext uri="{9D8B030D-6E8A-4147-A177-3AD203B41FA5}">
                      <a16:colId xmlns:a16="http://schemas.microsoft.com/office/drawing/2014/main" val="2504136165"/>
                    </a:ext>
                  </a:extLst>
                </a:gridCol>
              </a:tblGrid>
              <a:tr h="545096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образца</a:t>
                      </a:r>
                      <a:endParaRPr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действия статуса образц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ежуточное подтверждение статуса образца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894438"/>
                  </a:ext>
                </a:extLst>
              </a:tr>
              <a:tr h="362293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600" b="0" i="0" spc="-5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год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требуется</a:t>
                      </a:r>
                      <a:endParaRPr lang="ru-RU"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529590" marR="73025" indent="-449580" algn="ctr">
                        <a:lnSpc>
                          <a:spcPct val="100000"/>
                        </a:lnSpc>
                      </a:pPr>
                      <a:r>
                        <a:rPr lang="ru-RU" sz="1600" b="0" i="0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ль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год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дин раз не ранее 10 и не позднее 14 месяцев от даты ППКО</a:t>
                      </a:r>
                      <a:endParaRPr lang="ru-RU" sz="14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6401">
                <a:tc>
                  <a:txBody>
                    <a:bodyPr/>
                    <a:lstStyle/>
                    <a:p>
                      <a:pPr marL="231140" marR="95250" indent="-131445" algn="ctr">
                        <a:lnSpc>
                          <a:spcPct val="100000"/>
                        </a:lnSpc>
                      </a:pPr>
                      <a:r>
                        <a:rPr lang="ru-RU" sz="1600" b="0" i="0" dirty="0">
                          <a:solidFill>
                            <a:srgbClr val="1F1F2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</a:t>
                      </a:r>
                      <a:endParaRPr sz="16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года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ый раз не ранее 10 и не позднее 14 месяцев от даты ППКО</a:t>
                      </a:r>
                    </a:p>
                    <a:p>
                      <a:pPr marL="254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торой раз не ранее 22 и не позднее 26 месяцев от даты ППКО</a:t>
                      </a:r>
                      <a:endParaRPr lang="ru-RU" sz="1400" b="0" i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10600" y="6629400"/>
            <a:ext cx="27635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5854CD9B-F2A1-2349-AF86-390D22AFD2A4}"/>
              </a:ext>
            </a:extLst>
          </p:cNvPr>
          <p:cNvSpPr txBox="1"/>
          <p:nvPr/>
        </p:nvSpPr>
        <p:spPr>
          <a:xfrm>
            <a:off x="170809" y="4556577"/>
            <a:ext cx="8618855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ри промежуточной проверке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ются из каждого раздела чек-листа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его уровня по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позиций (желательно на основании заполненного меморандума, где были несоответствия или определены зоны для улучшения). При нахождении хотя бы одного несоответствия необходимо проверить все требования чек-листа этого раздела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При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и комиссии предлагается использовать принцип преемственности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, по возможности, приглашать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 членов, которые участвовали в предыдущем ППКО. Соблюдать баланс между старыми и новыми членами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5854CD9B-F2A1-2349-AF86-390D22AFD2A4}"/>
              </a:ext>
            </a:extLst>
          </p:cNvPr>
          <p:cNvSpPr txBox="1"/>
          <p:nvPr/>
        </p:nvSpPr>
        <p:spPr>
          <a:xfrm>
            <a:off x="237858" y="1066800"/>
            <a:ext cx="8618855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just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ок действия статуса образца приведен в таблице. Для образцов регионального и федерального уровня предусмотрены промежуточные ежегодные проверки сохранения уровня образца по сокращенной схеме.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образец не прошел промежуточную проверку в установленные сроки, его статус прекращается. Если организация хочет изменить действующий уровень образца, то по ее инициативе проводится ППКО в полном объеме в любое время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0" y="487065"/>
            <a:ext cx="332443" cy="396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74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ж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ния</a:t>
            </a: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228600" y="1828800"/>
            <a:ext cx="8336025" cy="1830933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к-листы</a:t>
            </a:r>
          </a:p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вле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ям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я</a:t>
            </a:r>
            <a:r>
              <a:rPr spc="-5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19200" y="61175"/>
            <a:ext cx="653295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600200"/>
            <a:ext cx="8618855" cy="39395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</a:t>
            </a:r>
            <a:r>
              <a:rPr lang="ru-RU" sz="2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ожения</a:t>
            </a:r>
          </a:p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z="2000" b="1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образца местного уровня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ованных 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года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) –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сматриваем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5 самых проработанных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выбору член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анды ППКО. Желательно наличие н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е двух проектов в стадии реализации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регионального уровня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двух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т работы) – рассматриваем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3-5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ых проработанных проектов по выбору членов команды ППКО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лательно наличие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трех проектов в стадии реализации.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федерального уровн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 быть не менее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до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ех лет работы) – рассматриваем 5-7 самых проработанных проектов по выбору членов команды ППКО. Желательно наличие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ее четырех проектов в стадии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и.</a:t>
            </a: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760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19200" y="61175"/>
            <a:ext cx="653295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</a:t>
            </a:r>
            <a:r>
              <a:rPr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ю</a:t>
            </a:r>
          </a:p>
          <a:p>
            <a:pPr marL="12700" algn="ctr">
              <a:lnSpc>
                <a:spcPct val="100000"/>
              </a:lnSpc>
            </a:pP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600200"/>
            <a:ext cx="8618855" cy="41857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положения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Выбор проектов для рассмотрения проводится командой ППКО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12700"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Для проверки отбираются проекты, которые связаны с темой проверяемого образца и реализованные в течение периода времени, предшествующего дате проверки;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года – для образца местного уровн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лет – для образца регионального уровн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лет – для образца федерального уровня.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е рассматриваются материалы проектов по улучшению, которые связаны с темой проверяемого образца и выбираются членами проверяющей команды случайным </a:t>
            </a: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м.</a:t>
            </a: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Рассмотрение большего числа проектов может проводиться по решению председателя комиссии при наличии большого количества лучших практик в организации или при желании коллектива организации-образца.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336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059247"/>
              </p:ext>
            </p:extLst>
          </p:nvPr>
        </p:nvGraphicFramePr>
        <p:xfrm>
          <a:off x="254508" y="1094166"/>
          <a:ext cx="8714740" cy="51054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и/или миссия организации, для реализации которых создан проверяемый образе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х/карточках </a:t>
                      </a: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представлено корректное определение улучшаемого процесса и его грани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х/карточках </a:t>
                      </a: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представлено обоснование для понимания, зачем и почему важна  реализация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рассмотренных проектов определены корректно, измеримы и отвечают обоснованию проекта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</a:t>
                      </a:r>
                      <a:r>
                        <a:rPr lang="ru-RU" sz="15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карточках</a:t>
                      </a: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ов утверждены Заказчиком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личный проект первого лица организации (первое лицо является руководителем команды проекта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 визуализированы в проектной комнате с достаточной полното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реализации проектов построены карты ПСЦ текущего состояния с фиксацией параметров процесса (время, расстояния и т.д.), соответствующих поставленным целям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каждом рассмотренном проекте построены карты ПСЦ целевого состоя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идентифицированы на картах ПСЦ текущего и </a:t>
                      </a:r>
                      <a:r>
                        <a:rPr lang="ru-RU" sz="15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го (</a:t>
                      </a:r>
                      <a:r>
                        <a:rPr lang="ru-RU" sz="1500" b="0" spc="-5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ли остаются) 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оя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0B7D17A-756C-4F57-9F1D-26492494CC2D}"/>
              </a:ext>
            </a:extLst>
          </p:cNvPr>
          <p:cNvSpPr txBox="1"/>
          <p:nvPr/>
        </p:nvSpPr>
        <p:spPr>
          <a:xfrm>
            <a:off x="4885816" y="6169409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829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981200" y="204239"/>
            <a:ext cx="6070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исание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н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2</a:t>
            </a:fld>
            <a:endParaRPr sz="1400" b="1" spc="-10" dirty="0"/>
          </a:p>
        </p:txBody>
      </p:sp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609600" y="1524000"/>
            <a:ext cx="7985251" cy="3508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Методические рекомендации предназначены для применения в</a:t>
            </a: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изация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 регионо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1800" b="0" spc="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ующих программу «Эффективный регион» с применением методов бережливого производства, и исп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у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 </a:t>
            </a:r>
            <a:r>
              <a:rPr lang="ru-RU"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ки  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 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</a:t>
            </a:r>
            <a:r>
              <a:rPr lang="ru-RU" sz="1800" b="0" spc="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 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ия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ов.</a:t>
            </a: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М</a:t>
            </a:r>
            <a:r>
              <a:rPr lang="ru-RU"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ч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lang="ru-RU" sz="1800" b="0" spc="1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lang="ru-RU"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д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1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lang="ru-RU" sz="1800" b="0" spc="114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lang="ru-RU"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800" b="0" spc="1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800" b="0" spc="10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lang="ru-RU" sz="1800" b="0" spc="-3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зац</a:t>
            </a:r>
            <a:r>
              <a:rPr lang="ru-RU"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lang="ru-RU" sz="1800" b="0" spc="1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ых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lang="ru-RU"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ор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800" b="0" spc="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ч</a:t>
            </a:r>
            <a:r>
              <a:rPr lang="ru-RU" sz="1800" b="0" spc="-6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ост</a:t>
            </a:r>
            <a:r>
              <a:rPr lang="ru-RU"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1800" b="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en-US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800" b="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оящие методические рекомендации авторизуются межрегиональным методическим комитетом.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6350" algn="just">
              <a:lnSpc>
                <a:spcPct val="100000"/>
              </a:lnSpc>
              <a:spcBef>
                <a:spcPts val="1200"/>
              </a:spcBef>
              <a:buClr>
                <a:srgbClr val="00295F"/>
              </a:buClr>
              <a:buSzPct val="125000"/>
              <a:tabLst>
                <a:tab pos="205104" algn="l"/>
              </a:tabLst>
            </a:pPr>
            <a:r>
              <a:rPr lang="ru-RU"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spc="-6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sz="1800" b="0" spc="-2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800" b="0" spc="5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ь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ю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ческих 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даций 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6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</a:t>
            </a:r>
            <a:r>
              <a:rPr sz="1800" b="0" spc="-4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sz="1800" b="0" spc="-2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е </a:t>
            </a:r>
            <a:r>
              <a:rPr sz="1800" b="0" spc="-19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икно</a:t>
            </a:r>
            <a:r>
              <a:rPr sz="1800" b="0" spc="-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ной </a:t>
            </a:r>
            <a:r>
              <a:rPr sz="1800" b="0" spc="-2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800" b="0" spc="-7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2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800" b="0" spc="-2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и п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м</a:t>
            </a:r>
            <a:r>
              <a:rPr sz="1800" b="0" spc="-1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щ</a:t>
            </a:r>
            <a:r>
              <a:rPr sz="1800" b="0" spc="-4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ся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0" spc="-5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</a:t>
            </a:r>
            <a:r>
              <a:rPr sz="1800" b="0" spc="-1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800" b="0" spc="-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800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sz="1800" b="0" spc="3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r@r</a:t>
            </a:r>
            <a:r>
              <a:rPr sz="1800" b="0" u="heavy" spc="-15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o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s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a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to</a:t>
            </a:r>
            <a:r>
              <a:rPr sz="1800" b="0" u="heavy" spc="-1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m</a:t>
            </a:r>
            <a:r>
              <a:rPr sz="1800" b="0" u="heavy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.</a:t>
            </a:r>
            <a:r>
              <a:rPr sz="1800" b="0" u="heavy" spc="-5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ru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1400" y="183724"/>
            <a:ext cx="533400" cy="63689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825660"/>
              </p:ext>
            </p:extLst>
          </p:nvPr>
        </p:nvGraphicFramePr>
        <p:xfrm>
          <a:off x="254508" y="976893"/>
          <a:ext cx="8714740" cy="48768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поиск коренных причин при решении проблем, идентифицированных на карте ПС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ые причины и возможные мероприятия по их устранению оценены по их влиянию на цели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мероприятий направлен на устранение выявленных коренных причин проблем, идентифицированных на карте ПСЦ</a:t>
                      </a:r>
                      <a:endParaRPr lang="ru-RU" sz="15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одобрения плана мероприятий по достижению целей проекта (</a:t>
                      </a:r>
                      <a:r>
                        <a:rPr lang="en-US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ck-off) </a:t>
                      </a: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с заказчиком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производственный анализ (мониторинг) для проверки достигнутых результа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уются (в виде визуальных стандартов, регламентов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пособствуют достижению целей организации, улучшая (бизнес-) результаты и/или показатели</a:t>
                      </a:r>
                      <a:endParaRPr lang="ru-RU" sz="15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личные проекты руководителей отдельных структурных подразделений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равление проектами по улучшению ведется с использованием стенда проекта в проектной комнате (</a:t>
                      </a:r>
                      <a:r>
                        <a:rPr lang="ru-RU" sz="1500" b="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5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</a:t>
                      </a:r>
                      <a:r>
                        <a:rPr lang="ru-RU" sz="1500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центре</a:t>
                      </a:r>
                      <a:r>
                        <a:rPr lang="ru-RU" sz="15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(ГД)</a:t>
                      </a:r>
                      <a:endParaRPr lang="ru-RU" sz="15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3" name="object 59">
            <a:extLst>
              <a:ext uri="{FF2B5EF4-FFF2-40B4-BE49-F238E27FC236}">
                <a16:creationId xmlns:a16="http://schemas.microsoft.com/office/drawing/2014/main" id="{5B4B79E3-E426-4369-9459-D2AF0BE80D95}"/>
              </a:ext>
            </a:extLst>
          </p:cNvPr>
          <p:cNvSpPr txBox="1"/>
          <p:nvPr/>
        </p:nvSpPr>
        <p:spPr>
          <a:xfrm>
            <a:off x="4943983" y="6151140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8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381831" y="271131"/>
            <a:ext cx="630369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z="2000" b="1" spc="-4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z="2000" b="1" spc="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2000" b="1" spc="-3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z="2000" b="1" spc="-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629702"/>
              </p:ext>
            </p:extLst>
          </p:nvPr>
        </p:nvGraphicFramePr>
        <p:xfrm>
          <a:off x="304800" y="976893"/>
          <a:ext cx="8664448" cy="4980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6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6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6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6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18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6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6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выявления коренных причин проблем используются несколько инструментов ( 5 «почему», </a:t>
                      </a: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W1H,</a:t>
                      </a: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иаграмма связей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именение идеальной карты процесса для улучшения карты целевого состояния 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оведение картирования текущего состояния процесса после завершения проекта (для подтверждения достижения целевого состояния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визуализируются в «пирамиде проблем» и решаются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улучшения в </a:t>
                      </a:r>
                      <a:r>
                        <a:rPr lang="ru-RU" sz="1400" spc="-5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х</a:t>
                      </a:r>
                      <a:r>
                        <a:rPr lang="ru-RU" sz="14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х создания ценно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 основных процесса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о вспомогательных процессах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жно проследить логику открытия проектов (каскады, последовательность, решение сложных проблем), приведших к созданию образца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ы действия по улучшению процесса реализации проектов в организации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отдельных</a:t>
                      </a:r>
                      <a:r>
                        <a:rPr lang="en-US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ных подразделениях организации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445BBADA-7BAE-4612-AB30-B7005D7814F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958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41490" y="1143000"/>
            <a:ext cx="8618855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 положения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 обучения подтверждается либо документами (свидетельства, сертификаты и т.д.), либо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записями </a:t>
            </a:r>
            <a:r>
              <a:rPr lang="ru-RU" sz="16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ов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 списком участников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ятие «внутренний тренер» обобщающее. Ими могут быть как сотрудники, занимающиеся только обучением других сотрудников организации, так и сотрудники, участвующие в обучении эпизодически, дополнительно к своей основной работе, но имеющие высокий уровень компетентности в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ческом применении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дельных методов и инструментов БП. 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несение сотрудника к категории «внутреннего тренера» 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уется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рядком, принятым в организации</a:t>
            </a: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z="16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жения по улучшениям (ППУ) рассматриваются по форме, принятой в организации.</a:t>
            </a:r>
            <a:endParaRPr lang="ru-RU" sz="1600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286AAD-9C81-4C2D-840A-3BF44A25DB76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D0B7C5E3-8D37-4B0E-A2EA-44EB85A21F40}"/>
              </a:ext>
            </a:extLst>
          </p:cNvPr>
          <p:cNvSpPr txBox="1"/>
          <p:nvPr/>
        </p:nvSpPr>
        <p:spPr>
          <a:xfrm>
            <a:off x="1305520" y="28408"/>
            <a:ext cx="653295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влению</a:t>
            </a:r>
          </a:p>
          <a:p>
            <a:pPr marL="12700" algn="ctr">
              <a:lnSpc>
                <a:spcPct val="100000"/>
              </a:lnSpc>
            </a:pP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влечение, обучение, мотивация персонала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445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325821"/>
              </p:ext>
            </p:extLst>
          </p:nvPr>
        </p:nvGraphicFramePr>
        <p:xfrm>
          <a:off x="254508" y="1094166"/>
          <a:ext cx="8714740" cy="4998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члены рабочих групп по проектам прошли обучение по базовым методам бережливого производства </a:t>
                      </a:r>
                      <a:r>
                        <a:rPr lang="ru-RU" sz="13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КПСЦ, решение проблем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аются предложения по улучшениям (ППУ), не менее 30% принятых ППУ реализуютс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использовалось обучение на фабриках процесс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проведении обучения  «на площадке» соблюдаются требования безопасности, используются СИЗ (при необходимости), участники не мешают производственному процесс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  по   бережливому производству   размещена   в   офисных   и   производственных помещениях, в</a:t>
                      </a: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зонах   ожидания 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лены рабочих групп по проектам хорошо понимают свою роль в команде проекта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о проектных командах размещается на стендах и в новостях предприятия, СМИ регион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 есть  ссылки на сайты, где размещены   актуальные   материалы   по   БП:  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ки,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ры проектов, дополнительные  материалы. Есть тематические группы в соцсетях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оощрения (морального и/или материального) членов РГ и руководителей проектов за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одного проекта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41516C3E-A1A0-49FE-8364-BC7CB9310076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5522" y="183725"/>
            <a:ext cx="366277" cy="437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49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1" y="271131"/>
            <a:ext cx="6582351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49624"/>
              </p:ext>
            </p:extLst>
          </p:nvPr>
        </p:nvGraphicFramePr>
        <p:xfrm>
          <a:off x="254508" y="976893"/>
          <a:ext cx="8714740" cy="4729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внутренние тренеры, которые проходят углубленную подготовку по методам и инструментам БП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утренние тренеры в организации имеют практический опыт подтверждения своих компетенций в проектах по улучшения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учении, проводимом внутренними тренерами, используются примеры из проектов, реализованных</a:t>
                      </a:r>
                      <a:r>
                        <a:rPr lang="ru-RU" sz="14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и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50% принятых ППУ реализовываются в соответствии с установленными сроками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проводится обучение на фабриках процессов (не менее 5% от численности организаци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  сценарий 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персонала в организации включает обучение методам и инструментам бережливого производства, в том числе силами внутренних трен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примеры применения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ральное и материальное поощрение сотрудников за участие в проектах по улучшению носит систематический, регулярный характе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двух проектов или руководили двумя и более проектами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0132C647-823F-468A-8089-B7E3F8771320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5522" y="183724"/>
            <a:ext cx="366278" cy="43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135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945361" y="282783"/>
            <a:ext cx="7008613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Вовлечение, обучение, мотивация персонала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0713100"/>
              </p:ext>
            </p:extLst>
          </p:nvPr>
        </p:nvGraphicFramePr>
        <p:xfrm>
          <a:off x="304800" y="976893"/>
          <a:ext cx="8664448" cy="494284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строится на основе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еречень компетенций внутренних тренеров входят компетенции по технологиям обуч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80% принятых ППУ реализовываются в соответствии с установленными сроками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ятся конкурсы по БП: сроки проведения регламентированы, разработан алгоритм подачи и рассмотрения заявок, назначена комиссия, разработаны коммуникационные материалы, награждение победителей проводит ГД 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о  не менее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сценариев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подготовленным сценариям было проведено обучение на фабрике процессов не менее чем </a:t>
                      </a:r>
                      <a:r>
                        <a:rPr lang="ru-RU" sz="14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 по каждом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вязь между работой в проектах по улучшениям и карьерной траекторией работник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о регулярное поддержание компетенций внутренних тренеров через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деры, сформировавшиеся на образце, выступают наставниками для других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руководили рабочими группами трех и более проектов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3B06713C-ED13-4492-A54E-16BC60EDA016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128" y="183725"/>
            <a:ext cx="356671" cy="425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14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305520" y="0"/>
            <a:ext cx="653295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влению</a:t>
            </a:r>
          </a:p>
          <a:p>
            <a:pPr marL="12700" algn="ctr">
              <a:lnSpc>
                <a:spcPct val="100000"/>
              </a:lnSpc>
            </a:pP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ажированию</a:t>
            </a:r>
            <a:r>
              <a:rPr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C07162F5-E4D2-44D0-8D97-F74FA224A61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EA94A14-2C1D-4002-86B5-5E58F5C9B9C0}"/>
              </a:ext>
            </a:extLst>
          </p:cNvPr>
          <p:cNvSpPr txBox="1"/>
          <p:nvPr/>
        </p:nvSpPr>
        <p:spPr>
          <a:xfrm>
            <a:off x="262570" y="1447800"/>
            <a:ext cx="8618855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</a:t>
            </a:r>
            <a:r>
              <a:rPr lang="ru-RU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ложени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r>
              <a:rPr lang="ru-RU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Рассматриваются пакеты методических материалов, подготовленные организацией как раздаточный и информационный материал для членов делегаций, посещающих образец для передачи опыта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7396037"/>
              </p:ext>
            </p:extLst>
          </p:nvPr>
        </p:nvGraphicFramePr>
        <p:xfrm>
          <a:off x="254508" y="1094166"/>
          <a:ext cx="8714740" cy="480879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м проектам обеспечено оперативное и регулярное информационное сопровождение во внутренних и внешних СМИ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дельные лучшие практики проектов по улучшениям и ППУ внедряются в других процессах организаци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роцессы образца  пригодны к тиражу (типизированы и стандартизованы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сотрудник в организации, который мотивирован и подготовлен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подробные презентации по результатам реализованных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роектной комнате (</a:t>
                      </a:r>
                      <a:r>
                        <a:rPr lang="ru-RU" sz="140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имеются стенды реализованных проектов по улучшению в формате «было-стало»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стандарты, регламенты и т.д., разработанные по результатам проектов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другие организации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 на площадке образц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отдельных реализованных проектов докладывались на семинарах, совещаниях, конференциях в регио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96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987813"/>
              </p:ext>
            </p:extLst>
          </p:nvPr>
        </p:nvGraphicFramePr>
        <p:xfrm>
          <a:off x="254508" y="976893"/>
          <a:ext cx="8714740" cy="52120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8941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проведения обсуждения проблем в типовых процессах, выявленных разными проектными командами, с совместной генерацией улучшений ( «ярмарка ежей» 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аяся практика обсуждения успехов и провалов реализованных проектов внутри организации, формализации полученных знаний, признания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ийся порядок посещения образца (экскурсии, обучение на площадке, передача опыта и пакета методических материалов,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не менее 3 сотрудников в организаци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 содержит обучающие материалы по теме образца (видео, презентации и т.д.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в проектах (стандарты) визуализируются и грамотно методически оформляются (в т.ч. и в виде инструкций с чек-листам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ируются в нормативных и методических документах уровня региона в цело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улучшения показателей реализованных проектов на следующем каскаде улучшения (принцип «постоянные улучшения»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передачи опыта в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других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ов на площадке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реализованных проектов докладывались на межрегиональных конференциях , семинарах, совещания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3">
            <a:extLst>
              <a:ext uri="{FF2B5EF4-FFF2-40B4-BE49-F238E27FC236}">
                <a16:creationId xmlns:a16="http://schemas.microsoft.com/office/drawing/2014/main" id="{6A7C2E2A-6140-4635-B6C8-19595F513CF4}"/>
              </a:ext>
            </a:extLst>
          </p:cNvPr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4629A65F-7665-428D-81B8-1E79FB31ECFA}"/>
              </a:ext>
            </a:extLst>
          </p:cNvPr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59">
            <a:extLst>
              <a:ext uri="{FF2B5EF4-FFF2-40B4-BE49-F238E27FC236}">
                <a16:creationId xmlns:a16="http://schemas.microsoft.com/office/drawing/2014/main" id="{A65CD4F0-EA1D-4AD1-A6E9-40DA7F3B728F}"/>
              </a:ext>
            </a:extLst>
          </p:cNvPr>
          <p:cNvSpPr txBox="1"/>
          <p:nvPr/>
        </p:nvSpPr>
        <p:spPr>
          <a:xfrm>
            <a:off x="4971415" y="6136173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44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984892"/>
              </p:ext>
            </p:extLst>
          </p:nvPr>
        </p:nvGraphicFramePr>
        <p:xfrm>
          <a:off x="304800" y="976893"/>
          <a:ext cx="8664448" cy="49987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58649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562600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8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8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ована система обучения в организации, в которой достижения проектов по улучшениям являются основой для учебных материалов (кейсов, фабрик процессов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результатам образца написаны научные работы, лучшие практики образца зафиксированы  в формате публикаций или брошю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бсуждения успехов и провалов проектов внутри организации, признания лидеров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дентифицированы подразделения и конкретные сотрудник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скомплектован на уровне «коробочного» реш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формирования планов мероприятий и стандартизации результатов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перативного управления проектами по улучшениям</a:t>
                      </a:r>
                      <a:endParaRPr lang="ru-RU" sz="14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управления большим количеством проектов</a:t>
                      </a:r>
                      <a:endParaRPr lang="ru-RU" sz="14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постановки и реализации целей по </a:t>
                      </a:r>
                      <a:r>
                        <a:rPr lang="en-US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QDCM(E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учшие практики образц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раза в год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ются на межрегиональных, всероссийских</a:t>
                      </a:r>
                      <a:r>
                        <a:rPr lang="ru-RU" sz="14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международных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ференциях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19" name="object 59">
            <a:extLst>
              <a:ext uri="{FF2B5EF4-FFF2-40B4-BE49-F238E27FC236}">
                <a16:creationId xmlns:a16="http://schemas.microsoft.com/office/drawing/2014/main" id="{A4D0C1E6-3976-4542-B8EA-E7B886C94B1D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3D4DE5A0-4C5B-484B-8242-5E22A27C8471}"/>
              </a:ext>
            </a:extLst>
          </p:cNvPr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Готовность к тиражированию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23D550AE-8799-43DA-BF9F-CBE4DD735065}"/>
              </a:ext>
            </a:extLst>
          </p:cNvPr>
          <p:cNvSpPr txBox="1"/>
          <p:nvPr/>
        </p:nvSpPr>
        <p:spPr>
          <a:xfrm>
            <a:off x="1103172" y="136364"/>
            <a:ext cx="1684655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397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dirty="0"/>
              <a:t>Содер</a:t>
            </a:r>
            <a:r>
              <a:rPr spc="-10" dirty="0"/>
              <a:t>ж</a:t>
            </a:r>
            <a:r>
              <a:rPr dirty="0"/>
              <a:t>ание</a:t>
            </a:r>
          </a:p>
        </p:txBody>
      </p:sp>
      <p:sp>
        <p:nvSpPr>
          <p:cNvPr id="3" name="object 3"/>
          <p:cNvSpPr/>
          <p:nvPr/>
        </p:nvSpPr>
        <p:spPr>
          <a:xfrm>
            <a:off x="251853" y="1082166"/>
            <a:ext cx="8702040" cy="0"/>
          </a:xfrm>
          <a:custGeom>
            <a:avLst/>
            <a:gdLst/>
            <a:ahLst/>
            <a:cxnLst/>
            <a:rect l="l" t="t" r="r" b="b"/>
            <a:pathLst>
              <a:path w="8702040">
                <a:moveTo>
                  <a:pt x="0" y="0"/>
                </a:moveTo>
                <a:lnTo>
                  <a:pt x="8702027" y="0"/>
                </a:lnTo>
              </a:path>
            </a:pathLst>
          </a:custGeom>
          <a:ln w="762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E6BC6EB0-129E-4D68-AAAB-46AD44C110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718198"/>
              </p:ext>
            </p:extLst>
          </p:nvPr>
        </p:nvGraphicFramePr>
        <p:xfrm>
          <a:off x="254451" y="955040"/>
          <a:ext cx="8635098" cy="5461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10147">
                  <a:extLst>
                    <a:ext uri="{9D8B030D-6E8A-4147-A177-3AD203B41FA5}">
                      <a16:colId xmlns:a16="http://schemas.microsoft.com/office/drawing/2014/main" val="3371050535"/>
                    </a:ext>
                  </a:extLst>
                </a:gridCol>
                <a:gridCol w="7084002">
                  <a:extLst>
                    <a:ext uri="{9D8B030D-6E8A-4147-A177-3AD203B41FA5}">
                      <a16:colId xmlns:a16="http://schemas.microsoft.com/office/drawing/2014/main" val="1253086126"/>
                    </a:ext>
                  </a:extLst>
                </a:gridCol>
                <a:gridCol w="1040949">
                  <a:extLst>
                    <a:ext uri="{9D8B030D-6E8A-4147-A177-3AD203B41FA5}">
                      <a16:colId xmlns:a16="http://schemas.microsoft.com/office/drawing/2014/main" val="36572801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ние раздел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слай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605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мины и сокращ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48792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ы лучших практик в регионах. Уровни развития и призн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7717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</a:t>
                      </a:r>
                      <a:r>
                        <a:rPr lang="ru-RU" spc="-2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дачи</a:t>
                      </a:r>
                      <a:r>
                        <a:rPr lang="ru-RU" spc="-2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0661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ы</a:t>
                      </a: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н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рских</a:t>
                      </a:r>
                      <a:r>
                        <a:rPr lang="ru-RU" sz="1800" spc="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ru-RU" sz="1800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</a:t>
                      </a:r>
                      <a:r>
                        <a:rPr lang="ru-RU" sz="1800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рок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0240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pc="-3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0056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0000"/>
                        </a:lnSpc>
                      </a:pP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</a:t>
                      </a:r>
                      <a:r>
                        <a:rPr lang="ru-RU" spc="-6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сса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</a:t>
                      </a:r>
                      <a:r>
                        <a:rPr lang="ru-RU" spc="-4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вки и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</a:t>
                      </a:r>
                      <a:r>
                        <a:rPr lang="ru-RU" spc="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я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8593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овой</a:t>
                      </a:r>
                      <a:r>
                        <a:rPr lang="ru-RU" spc="-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</a:t>
                      </a:r>
                      <a:r>
                        <a:rPr lang="ru-RU" spc="-1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pc="-3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994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нципы</a:t>
                      </a:r>
                      <a:r>
                        <a:rPr lang="ru-RU" spc="-4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pc="-4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мирования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pc="-1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ли</a:t>
                      </a:r>
                      <a:r>
                        <a:rPr lang="ru-RU" spc="-25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анды</a:t>
                      </a:r>
                      <a:r>
                        <a:rPr lang="ru-RU" spc="-3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К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06035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счет результатов по направлению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49509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ец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ог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 создания ценности –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0637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тверждение статуса – повторное проведение ППКО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98965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ожение. Чек-листы по направлениям развития образцов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07194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ения к заполнению чек-листов и дополнительные материалы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1752910"/>
                  </a:ext>
                </a:extLst>
              </a:tr>
            </a:tbl>
          </a:graphicData>
        </a:graphic>
      </p:graphicFrame>
      <p:sp>
        <p:nvSpPr>
          <p:cNvPr id="6" name="object 8">
            <a:extLst>
              <a:ext uri="{FF2B5EF4-FFF2-40B4-BE49-F238E27FC236}">
                <a16:creationId xmlns:a16="http://schemas.microsoft.com/office/drawing/2014/main" id="{F6E35C83-A931-4318-BAA0-6168F040E3D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3</a:t>
            </a:fld>
            <a:endParaRPr sz="1400" b="1" spc="-1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95400" y="0"/>
            <a:ext cx="5486400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2000" b="1" spc="2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    Проверка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ru-RU" sz="2000" b="1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м</a:t>
            </a:r>
            <a:endParaRPr lang="ru-RU" sz="2000" b="1" dirty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сквозном потоке</a:t>
            </a:r>
            <a:r>
              <a:rPr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endParaRPr lang="ru-RU" sz="2000" b="1" spc="-10" dirty="0" smtClean="0">
              <a:solidFill>
                <a:srgbClr val="00317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аказчик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квозном потоке» 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C07162F5-E4D2-44D0-8D97-F74FA224A610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6EA94A14-2C1D-4002-86B5-5E58F5C9B9C0}"/>
              </a:ext>
            </a:extLst>
          </p:cNvPr>
          <p:cNvSpPr txBox="1"/>
          <p:nvPr/>
        </p:nvSpPr>
        <p:spPr>
          <a:xfrm>
            <a:off x="262570" y="1447800"/>
            <a:ext cx="8618855" cy="22467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buClr>
                <a:srgbClr val="414142"/>
              </a:buClr>
              <a:tabLst>
                <a:tab pos="355600" algn="l"/>
              </a:tabLst>
            </a:pPr>
            <a:r>
              <a:rPr lang="ru-RU" sz="2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ие</a:t>
            </a:r>
            <a:r>
              <a:rPr lang="ru-RU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ложения</a:t>
            </a:r>
          </a:p>
          <a:p>
            <a:pPr marL="12700">
              <a:lnSpc>
                <a:spcPct val="100000"/>
              </a:lnSpc>
              <a:buClr>
                <a:srgbClr val="414142"/>
              </a:buClr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зависимости от места организации в МПСЦ, проверка проводится по одному или двум чек-листам. При этом в меморандуме обязательно указывать организацию – Заказчика и/или организацию – Исполнителя, которая участвует в данном МПСЦ.</a:t>
            </a: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r>
              <a:rPr lang="ru-RU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комендуется в приложении к меморандуму приводить полный МПСЦ, элементом которого организация является.</a:t>
            </a: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5600" indent="-342900">
              <a:lnSpc>
                <a:spcPct val="100000"/>
              </a:lnSpc>
              <a:buClr>
                <a:srgbClr val="414142"/>
              </a:buClr>
              <a:buFont typeface="Arial"/>
              <a:buAutoNum type="arabicPeriod"/>
              <a:tabLst>
                <a:tab pos="355600" algn="l"/>
              </a:tabLst>
            </a:pPr>
            <a:endParaRPr lang="ru-RU" spc="-1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47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8686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1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 в сквозном потоке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450021"/>
              </p:ext>
            </p:extLst>
          </p:nvPr>
        </p:nvGraphicFramePr>
        <p:xfrm>
          <a:off x="254508" y="1094166"/>
          <a:ext cx="8714740" cy="475291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потока для конкретного заказчика (к примеру, якорный работодатель для сквозного потока развития бережливой личности)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организации с заказчиком согласованы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реализуются бережливые проекты на основании целей, определенных заказчико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ется информация о целях, методах и результатах деятельности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совместные </a:t>
                      </a:r>
                      <a:r>
                        <a:rPr lang="ru-RU" sz="140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е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ы с Заказчиком по потоку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есть понимание целей потока до первичного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модель в организации, где отражены процессы, нуждающиеся в улучшении на основании видения потока со стороны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роли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ередачи опыта в организации – Исполнители других МПСЦ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ыт организации в роли Исполнителя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лся </a:t>
                      </a:r>
                      <a:r>
                        <a:rPr lang="ru-RU" sz="14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семинарах, совещаниях, конференциях в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е и/или стране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554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103172" y="136364"/>
            <a:ext cx="18686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6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2000" b="1" spc="-2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sz="2000" b="1" spc="15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2000" b="1" spc="-15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2000" b="1" spc="-2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2000" b="1" spc="-10" dirty="0" err="1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и</a:t>
            </a:r>
            <a:r>
              <a:rPr sz="2000" b="1" spc="2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</a:t>
            </a:r>
          </a:p>
          <a:p>
            <a:pPr marL="1103630" algn="ctr">
              <a:lnSpc>
                <a:spcPct val="100000"/>
              </a:lnSpc>
            </a:pP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000" b="1" spc="-10" dirty="0" smtClean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</a:t>
            </a:r>
            <a:r>
              <a:rPr lang="ru-RU" sz="2000" b="1" spc="-10" dirty="0">
                <a:solidFill>
                  <a:srgbClr val="00317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квозном потоке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4971415" y="60746"/>
            <a:ext cx="252095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400" b="1" i="1" spc="15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b="1" i="1" spc="-10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М</a:t>
            </a:r>
            <a:r>
              <a:rPr sz="1400" b="1" i="1" dirty="0">
                <a:solidFill>
                  <a:srgbClr val="BEBEB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ГГГГ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4C44EF91-D2F2-49A5-95E1-717C0B4749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6075283"/>
              </p:ext>
            </p:extLst>
          </p:nvPr>
        </p:nvGraphicFramePr>
        <p:xfrm>
          <a:off x="254508" y="1094166"/>
          <a:ext cx="8714740" cy="453955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507492">
                  <a:extLst>
                    <a:ext uri="{9D8B030D-6E8A-4147-A177-3AD203B41FA5}">
                      <a16:colId xmlns:a16="http://schemas.microsoft.com/office/drawing/2014/main" val="930552962"/>
                    </a:ext>
                  </a:extLst>
                </a:gridCol>
                <a:gridCol w="5464049">
                  <a:extLst>
                    <a:ext uri="{9D8B030D-6E8A-4147-A177-3AD203B41FA5}">
                      <a16:colId xmlns:a16="http://schemas.microsoft.com/office/drawing/2014/main" val="3294998374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1009367966"/>
                    </a:ext>
                  </a:extLst>
                </a:gridCol>
                <a:gridCol w="2362199">
                  <a:extLst>
                    <a:ext uri="{9D8B030D-6E8A-4147-A177-3AD203B41FA5}">
                      <a16:colId xmlns:a16="http://schemas.microsoft.com/office/drawing/2014/main" val="3646908346"/>
                    </a:ext>
                  </a:extLst>
                </a:gridCol>
              </a:tblGrid>
              <a:tr h="2864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ровер</a:t>
                      </a:r>
                      <a:r>
                        <a:rPr lang="ru-RU" sz="15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я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ый</a:t>
                      </a:r>
                      <a:r>
                        <a:rPr lang="ru-RU" sz="1500" spc="-2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 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пара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</a:t>
                      </a:r>
                      <a:r>
                        <a:rPr lang="ru-RU" sz="1500" spc="-5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5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р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r>
                        <a:rPr lang="ru-RU" sz="1800" spc="-80" dirty="0">
                          <a:solidFill>
                            <a:srgbClr val="27B82E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r>
                        <a:rPr lang="ru-RU" sz="1800" b="1" spc="-37" baseline="18518" dirty="0">
                          <a:solidFill>
                            <a:srgbClr val="414142"/>
                          </a:solidFill>
                          <a:latin typeface="Arial"/>
                          <a:cs typeface="Arial"/>
                        </a:rPr>
                        <a:t>/</a:t>
                      </a:r>
                      <a:r>
                        <a:rPr lang="ru-RU" sz="2000" spc="-15" dirty="0">
                          <a:solidFill>
                            <a:srgbClr val="C30C3D"/>
                          </a:solidFill>
                          <a:latin typeface="Wingdings"/>
                          <a:cs typeface="Wingdings"/>
                        </a:rPr>
                        <a:t></a:t>
                      </a:r>
                      <a:endParaRPr lang="ru-RU" sz="1800" dirty="0">
                        <a:solidFill>
                          <a:srgbClr val="00B050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Ко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мм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ен</a:t>
                      </a:r>
                      <a:r>
                        <a:rPr lang="ru-RU" sz="1800" spc="-1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т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Franklin Gothic Book"/>
                          <a:cs typeface="Franklin Gothic Book"/>
                        </a:rPr>
                        <a:t>арии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9864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1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ормулированы цели для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399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ы необходимые процедуры для доведения и согласования заказа с исполнителе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298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информационная и методическая поддержка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29068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ется информация о целях, методах и результатах деятельности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11082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совместные </a:t>
                      </a:r>
                      <a:r>
                        <a:rPr lang="ru-RU" sz="140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е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ы с Исполнителем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19308105"/>
                  </a:ext>
                </a:extLst>
              </a:tr>
              <a:tr h="450154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есть понимание целей потока до первичного Исполнителя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867012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модель в организации, где отражены процессы, нуждающиеся в улучшении на основании видения потока со стороны Заказчик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3695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в роли Заказчика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9475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ктика </a:t>
                      </a:r>
                      <a:r>
                        <a:rPr lang="ru-RU" sz="14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</a:t>
                      </a: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– Заказчики других МПСЦ</a:t>
                      </a:r>
                      <a:endParaRPr lang="ru-RU" sz="14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39562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ыт организации в роли Заказчика </a:t>
                      </a:r>
                      <a:r>
                        <a:rPr lang="ru-RU" sz="14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лся на семинарах, совещаниях, конференциях в регионе и/или стране</a:t>
                      </a:r>
                      <a:endParaRPr lang="ru-RU" sz="14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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358744969"/>
                  </a:ext>
                </a:extLst>
              </a:tr>
            </a:tbl>
          </a:graphicData>
        </a:graphic>
      </p:graphicFrame>
      <p:sp>
        <p:nvSpPr>
          <p:cNvPr id="21" name="object 59">
            <a:extLst>
              <a:ext uri="{FF2B5EF4-FFF2-40B4-BE49-F238E27FC236}">
                <a16:creationId xmlns:a16="http://schemas.microsoft.com/office/drawing/2014/main" id="{B9362814-C57F-415F-A72C-4A2323375041}"/>
              </a:ext>
            </a:extLst>
          </p:cNvPr>
          <p:cNvSpPr txBox="1"/>
          <p:nvPr/>
        </p:nvSpPr>
        <p:spPr>
          <a:xfrm>
            <a:off x="4936586" y="6070018"/>
            <a:ext cx="38100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53060" algn="l"/>
                <a:tab pos="772160" algn="l"/>
              </a:tabLst>
            </a:pPr>
            <a:r>
              <a:rPr lang="ru-RU" sz="14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о ___ из 10 пунктов (____%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60"/>
          <p:cNvSpPr/>
          <p:nvPr/>
        </p:nvSpPr>
        <p:spPr>
          <a:xfrm>
            <a:off x="1676400" y="6651130"/>
            <a:ext cx="1751330" cy="0"/>
          </a:xfrm>
          <a:custGeom>
            <a:avLst/>
            <a:gdLst/>
            <a:ahLst/>
            <a:cxnLst/>
            <a:rect l="l" t="t" r="r" b="b"/>
            <a:pathLst>
              <a:path w="1751330">
                <a:moveTo>
                  <a:pt x="0" y="0"/>
                </a:moveTo>
                <a:lnTo>
                  <a:pt x="1751069" y="0"/>
                </a:lnTo>
              </a:path>
            </a:pathLst>
          </a:custGeom>
          <a:ln w="7968">
            <a:solidFill>
              <a:srgbClr val="7D7D7D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66"/>
          <p:cNvSpPr txBox="1"/>
          <p:nvPr/>
        </p:nvSpPr>
        <p:spPr>
          <a:xfrm>
            <a:off x="2037079" y="6655192"/>
            <a:ext cx="591185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800" i="1" spc="-5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</a:t>
            </a:r>
            <a:r>
              <a:rPr sz="800" i="1" spc="-10" dirty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пись)</a:t>
            </a:r>
            <a:endParaRPr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66"/>
          <p:cNvSpPr txBox="1"/>
          <p:nvPr/>
        </p:nvSpPr>
        <p:spPr>
          <a:xfrm>
            <a:off x="277368" y="6520594"/>
            <a:ext cx="155143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i="1" spc="-5" dirty="0" smtClean="0">
                <a:solidFill>
                  <a:srgbClr val="7E7E7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30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29184" y="902208"/>
            <a:ext cx="8886190" cy="0"/>
          </a:xfrm>
          <a:custGeom>
            <a:avLst/>
            <a:gdLst/>
            <a:ahLst/>
            <a:cxnLst/>
            <a:rect l="l" t="t" r="r" b="b"/>
            <a:pathLst>
              <a:path w="8886190">
                <a:moveTo>
                  <a:pt x="0" y="0"/>
                </a:moveTo>
                <a:lnTo>
                  <a:pt x="8885656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178292" y="42392"/>
            <a:ext cx="905484" cy="8017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b="1" spc="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b="1" spc="-5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600" b="1" spc="6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</a:t>
            </a:r>
            <a:r>
              <a:rPr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</a:t>
            </a:r>
            <a:r>
              <a:rPr sz="1600" b="1" spc="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b="1" spc="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31594" y="1556892"/>
            <a:ext cx="7221220" cy="1789430"/>
          </a:xfrm>
          <a:custGeom>
            <a:avLst/>
            <a:gdLst/>
            <a:ahLst/>
            <a:cxnLst/>
            <a:rect l="l" t="t" r="r" b="b"/>
            <a:pathLst>
              <a:path w="7221220" h="1789429">
                <a:moveTo>
                  <a:pt x="0" y="1789429"/>
                </a:moveTo>
                <a:lnTo>
                  <a:pt x="7220839" y="1789429"/>
                </a:lnTo>
                <a:lnTo>
                  <a:pt x="7220839" y="0"/>
                </a:lnTo>
                <a:lnTo>
                  <a:pt x="0" y="0"/>
                </a:lnTo>
                <a:lnTo>
                  <a:pt x="0" y="1789429"/>
                </a:lnTo>
                <a:close/>
              </a:path>
            </a:pathLst>
          </a:custGeom>
          <a:solidFill>
            <a:srgbClr val="C1DDFA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841754" y="1818172"/>
            <a:ext cx="375348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1653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	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ый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ш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й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ск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400" spc="-1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841754" y="2458633"/>
            <a:ext cx="6205220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4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ей прак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любой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т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щ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</a:t>
            </a:r>
            <a:r>
              <a:rPr sz="1400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ый</a:t>
            </a:r>
            <a:r>
              <a:rPr sz="1400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ия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400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400" spc="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ш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ю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ффект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ь, 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ый</a:t>
            </a:r>
            <a:r>
              <a:rPr sz="14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spc="-5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ыть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400"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а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гичных</a:t>
            </a:r>
            <a:r>
              <a:rPr sz="1400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</a:t>
            </a:r>
            <a:r>
              <a:rPr sz="14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са</a:t>
            </a:r>
            <a:r>
              <a:rPr sz="14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1523" y="1681733"/>
            <a:ext cx="1491615" cy="497205"/>
          </a:xfrm>
          <a:custGeom>
            <a:avLst/>
            <a:gdLst/>
            <a:ahLst/>
            <a:cxnLst/>
            <a:rect l="l" t="t" r="r" b="b"/>
            <a:pathLst>
              <a:path w="1491614" h="497205">
                <a:moveTo>
                  <a:pt x="0" y="496824"/>
                </a:moveTo>
                <a:lnTo>
                  <a:pt x="1491614" y="496824"/>
                </a:lnTo>
                <a:lnTo>
                  <a:pt x="1491614" y="0"/>
                </a:lnTo>
                <a:lnTo>
                  <a:pt x="0" y="0"/>
                </a:lnTo>
                <a:lnTo>
                  <a:pt x="0" y="4968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51523" y="1681733"/>
            <a:ext cx="1491615" cy="430887"/>
          </a:xfrm>
          <a:prstGeom prst="rect">
            <a:avLst/>
          </a:prstGeom>
          <a:ln w="9525">
            <a:solidFill>
              <a:srgbClr val="C1DDFA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я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R="39370" algn="ctr">
              <a:lnSpc>
                <a:spcPct val="100000"/>
              </a:lnSpc>
            </a:pP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b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</a:t>
            </a:r>
            <a:r>
              <a:rPr sz="1400" b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а</a:t>
            </a:r>
            <a:endParaRPr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31594" y="3656304"/>
            <a:ext cx="7221220" cy="2005330"/>
          </a:xfrm>
          <a:custGeom>
            <a:avLst/>
            <a:gdLst/>
            <a:ahLst/>
            <a:cxnLst/>
            <a:rect l="l" t="t" r="r" b="b"/>
            <a:pathLst>
              <a:path w="7221220" h="2005329">
                <a:moveTo>
                  <a:pt x="0" y="2004948"/>
                </a:moveTo>
                <a:lnTo>
                  <a:pt x="7220839" y="2004948"/>
                </a:lnTo>
                <a:lnTo>
                  <a:pt x="7220839" y="0"/>
                </a:lnTo>
                <a:lnTo>
                  <a:pt x="0" y="0"/>
                </a:lnTo>
                <a:lnTo>
                  <a:pt x="0" y="2004948"/>
                </a:lnTo>
                <a:close/>
              </a:path>
            </a:pathLst>
          </a:custGeom>
          <a:solidFill>
            <a:srgbClr val="D4D4D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841754" y="3918244"/>
            <a:ext cx="6111240" cy="15081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7645" algn="l"/>
              </a:tabLst>
            </a:pPr>
            <a:r>
              <a:rPr sz="1400" spc="-6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spc="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ь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</a:t>
            </a:r>
            <a:r>
              <a:rPr sz="1400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ше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о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</a:t>
            </a:r>
            <a:r>
              <a:rPr sz="1400" i="1" spc="-5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4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spc="-9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i="1" spc="-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7645" indent="-194945">
              <a:lnSpc>
                <a:spcPct val="100000"/>
              </a:lnSpc>
              <a:buClr>
                <a:srgbClr val="212121"/>
              </a:buClr>
              <a:buFont typeface="Arial"/>
              <a:buAutoNum type="arabicPeriod"/>
              <a:tabLst>
                <a:tab pos="208279" algn="l"/>
              </a:tabLst>
            </a:pPr>
            <a:r>
              <a:rPr sz="1400" spc="-7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ь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огу</a:t>
            </a:r>
            <a:r>
              <a:rPr sz="1400" i="1" spc="-2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4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л</a:t>
            </a:r>
            <a:r>
              <a:rPr sz="1400" i="1" spc="-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к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</a:t>
            </a:r>
            <a:r>
              <a:rPr sz="1400" spc="-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и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400" i="1" spc="-4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</a:t>
            </a:r>
            <a:r>
              <a:rPr sz="1400" i="1" spc="-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я</a:t>
            </a:r>
            <a:r>
              <a:rPr sz="1400" i="1" spc="-6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400" i="1" spc="-20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ен</a:t>
            </a:r>
            <a:r>
              <a:rPr sz="1400" i="1" spc="-10" dirty="0" err="1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400" i="1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е</a:t>
            </a:r>
            <a:r>
              <a:rPr sz="1400" i="1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sz="1400" i="1" spc="-15" dirty="0" smtClean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р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,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1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</a:t>
            </a:r>
            <a:r>
              <a:rPr sz="1400" i="1" spc="-3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spc="-2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д</a:t>
            </a:r>
            <a:r>
              <a:rPr sz="1400" i="1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4825">
              <a:lnSpc>
                <a:spcPct val="100000"/>
              </a:lnSpc>
              <a:buClr>
                <a:srgbClr val="212121"/>
              </a:buClr>
              <a:buFont typeface="Arial"/>
              <a:buAutoNum type="arabicPeriod" startAt="3"/>
              <a:tabLst>
                <a:tab pos="207645" algn="l"/>
              </a:tabLst>
            </a:pP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с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е</a:t>
            </a:r>
            <a:r>
              <a:rPr sz="1400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400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еше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400" i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рено</a:t>
            </a:r>
            <a:r>
              <a:rPr sz="1400" i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400" i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т</a:t>
            </a:r>
            <a:r>
              <a:rPr sz="1400" i="1" spc="-4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</a:t>
            </a:r>
            <a:r>
              <a:rPr sz="1400" i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 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</a:t>
            </a:r>
            <a:r>
              <a:rPr sz="1400" i="1" spc="1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i="1" spc="5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</a:t>
            </a:r>
            <a:r>
              <a:rPr sz="1400" i="1" spc="-10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i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sz="1400" i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51523" y="3810228"/>
            <a:ext cx="1491615" cy="1143635"/>
          </a:xfrm>
          <a:custGeom>
            <a:avLst/>
            <a:gdLst/>
            <a:ahLst/>
            <a:cxnLst/>
            <a:rect l="l" t="t" r="r" b="b"/>
            <a:pathLst>
              <a:path w="1491614" h="1143635">
                <a:moveTo>
                  <a:pt x="0" y="1143152"/>
                </a:moveTo>
                <a:lnTo>
                  <a:pt x="1491614" y="1143152"/>
                </a:lnTo>
                <a:lnTo>
                  <a:pt x="1491614" y="0"/>
                </a:lnTo>
                <a:lnTo>
                  <a:pt x="0" y="0"/>
                </a:lnTo>
                <a:lnTo>
                  <a:pt x="0" y="11431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1523" y="3810228"/>
            <a:ext cx="1491615" cy="1077218"/>
          </a:xfrm>
          <a:prstGeom prst="rect">
            <a:avLst/>
          </a:prstGeom>
          <a:ln w="9525">
            <a:solidFill>
              <a:srgbClr val="D4D4D4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58115" marR="149860" indent="-1905" algn="ctr">
              <a:lnSpc>
                <a:spcPct val="100000"/>
              </a:lnSpc>
            </a:pPr>
            <a:r>
              <a:rPr sz="1400" b="1" spc="-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-2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и 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ия 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400" b="1" spc="-5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400" b="1" spc="-1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 прак</a:t>
            </a:r>
            <a:r>
              <a:rPr sz="1400" b="1" spc="-1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5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400" b="1" spc="-30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00" b="1" dirty="0" err="1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ПК</a:t>
            </a:r>
            <a:r>
              <a:rPr lang="ru-RU" sz="1400" b="1" dirty="0">
                <a:solidFill>
                  <a:srgbClr val="21212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1B5727AA-DDD8-4A72-9515-176266814F8F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B889AAA2-452C-4436-868C-5C1F1972A64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134" y="1261855"/>
            <a:ext cx="8294683" cy="47845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84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488" y="6454686"/>
            <a:ext cx="8891905" cy="0"/>
          </a:xfrm>
          <a:custGeom>
            <a:avLst/>
            <a:gdLst/>
            <a:ahLst/>
            <a:cxnLst/>
            <a:rect l="l" t="t" r="r" b="b"/>
            <a:pathLst>
              <a:path w="8891905">
                <a:moveTo>
                  <a:pt x="0" y="0"/>
                </a:moveTo>
                <a:lnTo>
                  <a:pt x="8891701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29184" y="118948"/>
            <a:ext cx="1022731" cy="7346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244600" y="263745"/>
            <a:ext cx="646303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е</a:t>
            </a:r>
            <a:r>
              <a:rPr sz="1600" b="1" spc="2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lang="ru-RU" sz="1600" b="1" spc="-2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блон 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м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b="1" spc="-1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b="1" spc="-25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b="1" spc="-2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b="1" spc="-10" dirty="0" err="1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b="1" spc="5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b="1" spc="-10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</a:t>
            </a:r>
            <a:r>
              <a:rPr lang="ru-RU" sz="1600" b="1" spc="-15" dirty="0">
                <a:solidFill>
                  <a:srgbClr val="0029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82FE7F5E-29C6-4A50-8FAC-68B83A646E44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727" y="1371600"/>
            <a:ext cx="8108776" cy="3646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09600" y="51816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кан-копия заполненного и подписанного меморандума ППКО (2 страницы) должна быть направлена в </a:t>
            </a:r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корпорацию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 Ответственность за это несет ПО БП региона, где проходила ППКО.</a:t>
            </a:r>
          </a:p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ебование относится ко всем уровням образцов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54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2323376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ясн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 заполнению</a:t>
            </a:r>
          </a:p>
          <a:p>
            <a:pPr marL="720090" algn="ctr">
              <a:lnSpc>
                <a:spcPct val="100000"/>
              </a:lnSpc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чек-лист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2009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н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ь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ые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те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ы</a:t>
            </a: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19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3308261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l">
              <a:lnSpc>
                <a:spcPct val="100000"/>
              </a:lnSpc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едены рекомендации по проверке выполнения отдельных требований чек-листов, как они могут быть интерпретированы и что может являться подтверждением выполнения критерия. </a:t>
            </a:r>
          </a:p>
          <a:p>
            <a:pPr marL="720090" algn="l">
              <a:lnSpc>
                <a:spcPct val="100000"/>
              </a:lnSpc>
            </a:pP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Рекомендательный характер не подразумевает буквального следования им, здравый смысл и особенности конкретного образца должны превалировать.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7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268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598391"/>
              </p:ext>
            </p:extLst>
          </p:nvPr>
        </p:nvGraphicFramePr>
        <p:xfrm>
          <a:off x="228600" y="762000"/>
          <a:ext cx="8763000" cy="57337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10082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1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цели и/или миссия организации, для реализации которых создан проверяемый образе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ен быть представлен один или несколько документов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ссия организации, закрепленная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договор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в другом НПА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атегия организации, утвержденная ГД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-матрица и/или дерево целей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ругие показатели деятельности организации, к примеру социально-экономические показатели деятельности МСУ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4844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2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спортах проектов представлено корректное определение улучшаемого процесса и его грани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 первом разделе указаны «границы процесса», которые полностью соотносятся с информацией на картах процесса (вход/выход) и с целевыми показателями из третьего раздела карточки проекта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3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спортах проектов представлено обоснование для понимания, зачем и почему важна  реализация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о втором разделе представлено полное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ение,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чему эта тема была выбрана для проекта,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обозначен ключевой риск и некоторые проблемы представлены в цифровом выражении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4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 рассмотренных проектов определены корректно, измеримы и отвечают обоснованию проекта</a:t>
                      </a:r>
                      <a:endParaRPr lang="ru-RU" sz="10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ах проектов в третьем разделе указаны оцифрованные цели в формате штуки, дни, тонны и т.п. Цели взаимосвязаны с названием процесса (границы процесса) и с решением проблем, указанных во втором разделе карточки (обоснование выбора). 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5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спорта проектов утверждены Заказчиком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и проектов имеют подписи руководителя проекта и заказчика проекта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6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личный проект первого лица организации (первое лицо является руководителем команды проекта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зентован личный проект руководителя организации, который отвечает требованиям критериев М2-М4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 визуализированы в проектной комнате с достаточной полното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а комната управления проектами или есть место, где все проекты размещены. По каждому проекту представлена следующая информация: карточка и команда проекта, карты процесса, план мероприятий, графики мониторинга, фотографии улучшений в формате было/стало и другие материалы (анкетирование, диаграммы </a:t>
                      </a:r>
                      <a:r>
                        <a:rPr lang="ru-RU" sz="10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еречни проблем и т.п.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реализации проектов построены карты ПСЦ текущего состояния с фиксацией параметров процесса (время, расстояния и т.д.), соответствующих поставленным целям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картах текущего состояния процессов символами и цифрами обозначены все параметры процесса: цифровые (время, количество возвратов, количество человек и т.п.) и качественные (метод передачи информации и другие)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каждом рассмотренном проекте построены карты ПСЦ целевого состоя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 картах целевого состояния процессов символами и цифрами обозначены все параметр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цесс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идентифицированы на картах ПСЦ текущего и целевого состоя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явленные проблемы обозначены на картах ПСЦ «ежами». Дополнительно могут быть представлены перечни проблем в формате таблицы (обязательно взаимосвязь проблем в таблице с проблемами на карте).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466367"/>
              </p:ext>
            </p:extLst>
          </p:nvPr>
        </p:nvGraphicFramePr>
        <p:xfrm>
          <a:off x="228600" y="762000"/>
          <a:ext cx="8763000" cy="55436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поиск коренных причин при решении проблем, идентифицированных на карте ПСЦ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ах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бланки решения проблем одним из инструментов (5 почему, диаграмма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дерево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484429">
                <a:tc>
                  <a:txBody>
                    <a:bodyPr/>
                    <a:lstStyle/>
                    <a:p>
                      <a:r>
                        <a:rPr lang="ru-RU" sz="9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ые причины и возможные мероприятия по их устранению оценены по их влиянию на цели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роектах, где коренные причины проблем были разобраны при помощи одного из инструментов (5 почему, диаграмма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дерево проблем и т.п.), планы мероприятий имеют отдельные столбцы «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»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«Влияние на результат/цели проекта»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мероприятий направлен на устранение выявленных коренных причин проблем, идентифицированных на карте ПСЦ</a:t>
                      </a:r>
                      <a:endParaRPr lang="ru-RU" sz="9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итель проекта в своем докладе должен показать взаимосвязь «У проблемы, выявленной на карте ПСЦ, определена коренная причина при помощи, к примеру, 5 почему, предложено мероприятие по ее решению, которое есть в плане мероприятий»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дура одобрения плана мероприятий по достижению целей проекта (</a:t>
                      </a:r>
                      <a:r>
                        <a:rPr lang="en-US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ck-off) </a:t>
                      </a: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с заказчиком проект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жно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ить Протоколы проведения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ck-off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которые утверждают проекты. Дополнительно можно предъявить фотографии проведения 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ck-off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ится производственный анализ (мониторинг) для проверки достигнутых результа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пример, предъявляются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и достижения целевых показателей в формате было/цель/факт с заданной периодичностью (еженедельно, ежемесячно)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уются (в виде визуальных стандартов, регламентов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емонстрируется изменен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уществующего или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вого регламента оптимизируемого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цесса.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акже это могут быть новые утвержденные приказами и распоряжениями организации: блок-схемы процессов, рабочие стандарты, стандарты организации рабочих мест и т.п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пособствуют достижению целей организации, улучшая (бизнес-) результаты и/или показатели</a:t>
                      </a:r>
                      <a:endParaRPr lang="ru-RU" sz="9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ть («ткнуть пальцем»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примеры тех проектов, которые в целях имеют показатели схожие с бизнес-целями. Если нет прямой корреляции (не совпадают названия показателей и бизнес-целей), то пояснить как косвенно цели проектов влияют на бизнес-цели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уются личные проекты руководителей отдельных структурных подразделений</a:t>
                      </a:r>
                      <a:endParaRPr lang="ru-RU" sz="9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личные проект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уководителей структурных подразделений организации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равление проектами по улучшению ведется с использованием стенда проекта в проектной комнате (</a:t>
                      </a:r>
                      <a:r>
                        <a:rPr lang="ru-RU" sz="900" b="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9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а комната управления проектами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 каждому проекту представлена следующая информация: карточка и команда проекта, карты процесса, план мероприятий, графики мониторинга, фотографии улучшений в формате было/стало и другие материалы (анкетирование, диаграммы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икав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перечни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</a:t>
                      </a:r>
                      <a:r>
                        <a:rPr lang="ru-RU" sz="900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центре</a:t>
                      </a:r>
                      <a:r>
                        <a:rPr lang="ru-RU" sz="9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ганизации (ГД)</a:t>
                      </a:r>
                      <a:endParaRPr lang="ru-RU" sz="9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нель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правления показателями может быть в формате «Безопасность-Качество-Исполнение заказов-Затраты-Персонал» или в другом формате, используемом на предприятии. В некоторых случаях – это могут быть электронные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шборды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управления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ажно! определен регламент сбора информации по показателям (кто, как часто, какую информацию и куда направляет); определен регламент проведения оперативных совещаний (состав участников, время докладов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76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00" y="204239"/>
            <a:ext cx="35052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 algn="ctr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рмины и сокращения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52508BC1-5B96-4701-9BC9-FFE91F1419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272657"/>
              </p:ext>
            </p:extLst>
          </p:nvPr>
        </p:nvGraphicFramePr>
        <p:xfrm>
          <a:off x="310606" y="1066800"/>
          <a:ext cx="8458200" cy="4775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86000">
                  <a:extLst>
                    <a:ext uri="{9D8B030D-6E8A-4147-A177-3AD203B41FA5}">
                      <a16:colId xmlns:a16="http://schemas.microsoft.com/office/drawing/2014/main" val="3172528875"/>
                    </a:ext>
                  </a:extLst>
                </a:gridCol>
                <a:gridCol w="6172200">
                  <a:extLst>
                    <a:ext uri="{9D8B030D-6E8A-4147-A177-3AD203B41FA5}">
                      <a16:colId xmlns:a16="http://schemas.microsoft.com/office/drawing/2014/main" val="31676325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бор материалов в печатной и/или электронной форме, предназначенный для поддержки процесса передачи лучших практик. Он может включать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очки проектов по улучшению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ы текущего, целевого и идеального состоян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териалы с доски управления проектом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зентации этапов работ от инициирования до закрыт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ческие рекомендации, указания, стандарты, брошюры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то- и видеоматериалы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материалы по усмотрению организаци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517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Коробочное» реш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, предназначенный для поддержки самостоятельного внедрения образцов лучших практик в конкретном направлении социально-экономического развития региона. Включает в себя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и критериев по направлению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бор методик по направлению, сценарии фабрики 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цы лучших практик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то и видео-материалы по проектам-образцам, обучающие видеоролики, программные продукты и базы данных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5024419"/>
                  </a:ext>
                </a:extLst>
              </a:tr>
              <a:tr h="28956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ежливое производств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408393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БП регион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ный офис по развитию БП в регионе (в форме, принятой в конкретном регионе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7303388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СЦ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ок создания ценност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3817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ПСЦ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ок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я ценности</a:t>
                      </a:r>
                    </a:p>
                  </a:txBody>
                  <a:tcPr marR="0" marT="0" marB="0"/>
                </a:tc>
                <a:extLst>
                  <a:ext uri="{0D108BD9-81ED-4DB2-BD59-A6C34878D82A}">
                    <a16:rowId xmlns:a16="http://schemas.microsoft.com/office/drawing/2014/main" val="1753635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И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деральный орган исполнительной власт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2632792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6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71600" y="304800"/>
            <a:ext cx="4495800" cy="307777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</a:t>
            </a:r>
            <a:r>
              <a:rPr lang="ru-RU" spc="-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</a:t>
            </a:r>
            <a:r>
              <a:rPr lang="ru-RU" spc="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ми</a:t>
            </a:r>
            <a:r>
              <a:rPr lang="ru-RU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й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6647910"/>
              </p:ext>
            </p:extLst>
          </p:nvPr>
        </p:nvGraphicFramePr>
        <p:xfrm>
          <a:off x="228600" y="762000"/>
          <a:ext cx="8763000" cy="54332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выявления коренных причин проблем используются несколько инструментов ( 5 «почему», </a:t>
                      </a:r>
                      <a:r>
                        <a:rPr kumimoji="0" lang="en-US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W1H,</a:t>
                      </a: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иаграмма связей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 многих проектах презентованы бланки решения проблем разными инструментами (5 почему, диаграмма Исикавы, дерево проблем и т.п.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именение идеальной карты процесса для улучшения карты целевого состояния 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карты идеального состояния процесса в отдельных проектах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414142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демонстрировано проведение картирования текущего состояния процесса после завершения проекта (для подтверждения достижения целевого состояния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ы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ы, повторно взятые для улучшения по тем же процессам, но с более амбициозными целями (где карта текущего состояния – это предыдущая целевая карта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или карта текущего состояния проекта после его закрытия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ные проблемы визуализируются в «пирамиде проблем» и решаются на соответствующем уров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казаны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ирамиды проблем: организация-регион-федерация.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ажно! показать,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шения проблем всех уровней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улучшения в </a:t>
                      </a:r>
                      <a:r>
                        <a:rPr lang="ru-RU" sz="1000" spc="-5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организационных</a:t>
                      </a:r>
                      <a:r>
                        <a:rPr lang="ru-RU" sz="1000" spc="-5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оках создания ценно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, в которых оптимизируемый процесс выходит за рамки организации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разца. Обязательно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! привести примеры улучшений на стыках межведомственного взаимодействия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 основных процесса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 с целями по повышению качества в основных процессах. </a:t>
                      </a:r>
                      <a:r>
                        <a:rPr lang="ru-RU" sz="10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оразместить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олный портфель реализуемых проектов, где отдельным столбцом обозначить принадлежность оптимизируемого процесса к основным, вспомогательным или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жфункциональным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ы, реализованные при создании образца, включают проекты, направленные на повышение качества во вспомогательных процессах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оекты с целями по повышению качества во вспомогательных процессах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жно проследить логику открытия проектов (каскады, последовательность, решение сложных проблем), приведших к созданию образца</a:t>
                      </a:r>
                      <a:endParaRPr lang="ru-RU" sz="10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держана логика выбора проектов, например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ализация и обучение на пилотных проектах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стемный сбор проблем от всех участников процессов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х решение </a:t>
                      </a:r>
                      <a:endParaRPr lang="ru-RU" sz="1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крыт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жведомственных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ов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решающих проблемы на стыках процесс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ы действия по улучшению процесса реализации проектов в организации</a:t>
                      </a:r>
                      <a:endParaRPr lang="ru-RU" sz="10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еи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для управления всеми проектами, проведение совещаний по проектам с участием руководителя организации с заданной периодичностью;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и утверждение регламента по управлению проектной деятельностью, </a:t>
                      </a:r>
                      <a:endParaRPr lang="ru-RU" sz="10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ектного офиса, обучение сотрудников проектной деятельности силами внутренних тренеро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уществляется визуальное управление процессами по SQDCM(E) в отдельных</a:t>
                      </a:r>
                      <a:r>
                        <a:rPr lang="en-US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ных подразделениях организации</a:t>
                      </a:r>
                      <a:endParaRPr lang="ru-RU" sz="10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 мониторинг операционных показателей деятельности через создание панелей управления показателями на уровне структурных подразделений.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ребования аналогичны Р10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081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383637"/>
              </p:ext>
            </p:extLst>
          </p:nvPr>
        </p:nvGraphicFramePr>
        <p:xfrm>
          <a:off x="228600" y="762000"/>
          <a:ext cx="8763000" cy="55884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 члены рабочих групп по проектам прошли обучение по базовым методам бережливого производства (КПСЦ, решение проблем)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писками обученных с указанием даты и темы обучения. Также может быть подтверждено любыми документами об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учен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аются предложения по улучшениям (ППУ), не менее 30% принятых ППУ реализуются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а система подачи предложений по улучшениям, в том числе: регламент подачи, экспертизы и реализации ППУ; составы комиссии по принятию ППУ к реализации и т.п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использовалось обучение на фабриках процесс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писками обученных с указанием даты и темы обучения на фабриках процессов. Также может быть подтверждено любыми документами об обучении (сертификаты, дипломы и т.п.)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 проведении обучения  «на площадке» соблюдаются требования безопасности, используются СИЗ (при необходимости), участники не мешают производственному процесс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 наличии программ «площадочного обучения» представляются регламенты их проведения, где указаны требования по безопасности и использования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Зов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зуализация   по   бережливому производству   размещена   в   офисных   и   производственных помещениях, в   зонах   ожидания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Подтверждается плакатами (5С, Потери и т.п.), размещённых в различных зонах организации, в </a:t>
                      </a:r>
                      <a:r>
                        <a:rPr lang="ru-RU" sz="1100" b="0" spc="-5" dirty="0" err="1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и в кабинетах сотрудников. Также на стойках информации могут быть размещены брошюры и памятки по БП. Организованы информационные панели по инструментам БП.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0" marT="0" marB="0" anchor="ctr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лены рабочих групп по проектам хорошо понимают свою роль в команде проекта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одится опрос некоторых членов команд проектов на предмет какую роль в проекте они выполнял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о проектных командах размещается на стендах и в новостях предприятия, СМИ регион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язательным бланком панелей управления по всем проектам является бланк «Команда проекта» с фотографиями, полным Ф.И.О., занимаемой должностью и ролью в проекте. Примеры освещения в СМИ проводимой работы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 есть  ссылки на сайты, где размещены   актуальные   материалы   по   БП:  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дики,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ры проектов, дополнительные  материалы. Есть тематические группы в соцсетях</a:t>
                      </a:r>
                      <a:endParaRPr lang="ru-RU" sz="11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яются на ноутбуке или ПК сайты и/или общие папки, которые содержат методические материалы, информацию по реализуемым проектам, архив видео и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материалов. На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лефонах могут быть представлены группы, созданные при реализации проектов, в которых идет обмен информацией и материалам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актика поощрения (морального и/или материального) членов РГ и руководителей проектов за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и приказы по материальному и нематериальному поощрению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 совещаний, на которых награждаются наиболее успешные участники проектов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одного проекта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тверждается карточками</a:t>
                      </a:r>
                      <a:r>
                        <a:rPr lang="ru-RU" sz="1100" b="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ек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141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1237490"/>
              </p:ext>
            </p:extLst>
          </p:nvPr>
        </p:nvGraphicFramePr>
        <p:xfrm>
          <a:off x="228600" y="762000"/>
          <a:ext cx="8763000" cy="53875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6588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внутренние тренеры, которые проходят углубленную подготовку по методам и инструментам БП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defTabSz="91440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фиксацией Ф.И.О. тренеров, (и например: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нсультанта от ГК </a:t>
                      </a:r>
                      <a:r>
                        <a:rPr lang="ru-RU" sz="11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осатом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ли ПО БП региона, который ведет их подготовку). Дополнительно могут быть представлены сертификаты и дипломы о прохождении обучения или на фабриках процессов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утренние тренеры в организации имеют практический опыт подтверждения своих компетенций в проектах по улучшениям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506171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бучении, проводимом внутренними тренерами, используются примеры из проектов, реализованных</a:t>
                      </a:r>
                      <a:r>
                        <a:rPr lang="ru-RU" sz="11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и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50% принятых ППУ реализовываются в соответствии с установленными сроками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работы комиссии, в которых дано обоснование отклонения ППУ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вовлечения сотрудников проводится обучение на фабриках процессов (не менее 5% от численности организаци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иски, сертификаты и дипломы об обучении на фабриках процессов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  сценарий 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тверждается сценарием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персонала в организации включает обучение методам и инструментам бережливого производства, в том числе силами внутренних трен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 утвержденный (на год или полугодие) план обучения персонала БП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елательно! Если план обучения имеет корреляцию с матрицей владения инструментами БП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меются примеры применения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а матрица владения инструментами БП или основными профессиональными компетенциями. Например: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епень 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ладения – Прошел обучение/Применял хотя бы в одном проекте/ Применял в различных проектах/Может научить другого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ральное и материальное поощрение сотрудников за участие в проектах по улучшению носит систематический, регулярный характе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о Положение или другой НПА по системе Мотивации участников проектной деятельности и системы улучшений. 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входили в рабочие группы более чем двух проектов или руководили двумя и более проектами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рточки проектов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385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лечение</a:t>
            </a: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бучение, мотивация </a:t>
            </a:r>
            <a:r>
              <a:rPr lang="ru-RU" sz="20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онала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743062"/>
              </p:ext>
            </p:extLst>
          </p:nvPr>
        </p:nvGraphicFramePr>
        <p:xfrm>
          <a:off x="228600" y="762000"/>
          <a:ext cx="8763000" cy="53595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обучения строится на основе матрицы компетенций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 утвержденный (на год или полугодие) план обучения персонала БП или основным профессиональным компетенциям. План обучения имеет корреляцию с соответствующей матрицей компетенций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еречень компетенций внутренних тренеров входят компетенции по технологиям обуч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е о внутренних тренерах в организац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80% принятых ППУ реализовываются в соответствии с установленными сроками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зентованы примеры ППУ, в которых указаны сроки подачи и реализации ППУ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одятся конкурсы по БП: сроки проведения регламентированы, разработан алгоритм подачи и рассмотрения заявок, назначена комиссия, разработаны коммуникационные материалы, награждение победителей проводит ГД </a:t>
                      </a:r>
                      <a:endParaRPr lang="ru-RU" sz="11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е о конкурса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одготовлено  не менее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сценариев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теме созданного образца для фабрики процессов (в регионе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2 сценариев 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брик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подготовленным сценариям было проведено обучение на фабрике процессов не менее чем </a:t>
                      </a:r>
                      <a:r>
                        <a:rPr lang="ru-RU" sz="1100" b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 по каждому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иски обученных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вязь между работой в проектах по улучшениям и карьерной траекторией работник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ложения по кадровому резерву, процедуры оценки персонала, в которых в качестве обязательных требований внесены требования по участию в проектной деятельности и владению навыками применения инструментов БП. Знакомство с сотрудниками, недавно назначенными и примеры реализованных ими проект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о регулярное поддержание компетенций внутренних тренеров через реализацию проектов по улучшению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проектов с участием внутренних тренер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деры, сформировавшиеся на образце, выступают наставниками для других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, которые передали свой опыт и обучают своих коллег. Может быть зафиксировано в протоколах, приказах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работники, которые руководили рабочими группами трех и более проектов</a:t>
                      </a:r>
                      <a:endParaRPr lang="ru-RU" sz="1100" b="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рточки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роек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08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3747002"/>
              </p:ext>
            </p:extLst>
          </p:nvPr>
        </p:nvGraphicFramePr>
        <p:xfrm>
          <a:off x="228600" y="762000"/>
          <a:ext cx="8763000" cy="550522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м проектам обеспечено оперативное и регулярное информационное сопровождение во внутренних и внешних СМИ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борка СМИ с пресс релизами по реализованным проектам и ППУ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дельные лучшие практики проектов по улучшениям и ППУ внедряются в других процессах организаци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в формате фото или показ на рабочих места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процессы образца  пригодны к тиражу (типизированы и стандартизованы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готовлен пакет методических материалов - Положения/Регламенты/Стандарты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сотрудник в организации, который мотивирован и подготовлен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подробные презентации по результатам реализованных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кет методических материалов дополнен расширенными презентациями по всем проектам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роектной комнате (</a:t>
                      </a:r>
                      <a:r>
                        <a:rPr lang="ru-RU" sz="1200" spc="-5" dirty="0" err="1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ее</a:t>
                      </a: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имеются стенды реализованных проектов по улучшению в формате «было-стало»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енды с наиболее успешными проектами (необходимо наличие улучшений на одном листе с отображением ситуации «было» и «стало»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пакет методических материалов входят стандарты, регламенты и т.д., разработанные по результатам проектов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полнительно к расширенным презентациям реализованных проектов в пакет методматериалов включены стандарты, регламент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видео- и фотоматериалы, иллюстрирующие лучшие практики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</a:t>
                      </a:r>
                      <a:r>
                        <a:rPr lang="ru-RU" sz="12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дачи опыта в другие организации </a:t>
                      </a:r>
                      <a:r>
                        <a:rPr lang="ru-RU" sz="12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а на площадке образца</a:t>
                      </a:r>
                      <a:endParaRPr lang="ru-RU" sz="12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 передачи опыта. Фото и видео материалы как это было реализовано в других организациях регион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отдельных реализованных проектов докладывались на семинарах, совещаниях, конференциях в регионе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семинаров и совещаний, где в повестке совещаний указан доклад о реализованных улучшениях. А также фотоматериалы с семинаров, совещаний и конференций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30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301578"/>
              </p:ext>
            </p:extLst>
          </p:nvPr>
        </p:nvGraphicFramePr>
        <p:xfrm>
          <a:off x="228600" y="752766"/>
          <a:ext cx="8763000" cy="58353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проведения обсуждения проблем в типовых процессах, выявленных разными проектными командами, с совместной генерацией улучшений ( «ярмарка ежей» 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а программа и результаты деловой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гры/семинара/ стратегической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ссии «Ярмарка ежей» для проектных команд разных организаций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озможна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готовка протокола с отражением основных результатов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аяся практика обсуждения успехов и провалов реализованных проектов внутри организации, формализации полученных знаний, признания лидер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токолы закрытия проектов, в которых зафиксированы успехи и зоны развития реализованных проектов. Приказы об награждении участников наиболее успешных проектов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устоявшийся порядок посещения образца (экскурсии, обучение на площадке, передача опыта и пакета методических материалов,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андартная программа посещения/визита в организацию делегации в рамках обмена опыто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не менее 3 сотрудников в организаци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 содержит обучающие материалы по теме образца (видео, презентации и т.д.)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акет метод материалов дополнен программами обучения по основным инструментам БП, адаптированным под специфику организации (презентации, рабочие тетради участника, руководство тренера и т.п.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в проектах (стандарты) визуализируются и грамотно методически оформляются (в т.ч. и в виде инструкций с чек-листами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 примеру, итогом реализации улучшений по организации рабочих мест в соответствии 5С являются: визуальные стандарты организации рабочих мест; утвержденное Положение об организации 5С; чек-листы проверки и т.д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проектов стандартизируются в нормативных и методических документах уровня региона в целом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, когда по итогам реализации проектов, были внесены изменения в существующие или разработаны новые региональные НП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ть примеры улучшения показателей реализованных проектов на следующем каскаде улучшения (принцип «постоянные улучшения»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ы проектов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гда,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ыло принято решение о новом проекте в этом же процессе, но уже с более амбициозными целям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практика передачи опыта в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 других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онов на площадке образц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то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 видео материалы как это было реализовано в других региона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568299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стижения реализованных проектов докладывались на межрегиональных конференциях , семинарах, совещания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семинаров и совещаний, где в повестке совещаний указан доклад о реализованных улучшениях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684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9527" y="116674"/>
            <a:ext cx="925220" cy="72000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103173" y="271131"/>
            <a:ext cx="658235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03630" algn="ctr">
              <a:lnSpc>
                <a:spcPct val="100000"/>
              </a:lnSpc>
            </a:pPr>
            <a:r>
              <a:rPr lang="ru-RU" sz="20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ность к тиражированию</a:t>
            </a:r>
            <a:endParaRPr sz="20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object 8">
            <a:extLst>
              <a:ext uri="{FF2B5EF4-FFF2-40B4-BE49-F238E27FC236}">
                <a16:creationId xmlns:a16="http://schemas.microsoft.com/office/drawing/2014/main" id="{EA848B73-8809-4B30-AAA0-0D078A517B6B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6" y="6570141"/>
            <a:ext cx="295783" cy="2232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115371"/>
              </p:ext>
            </p:extLst>
          </p:nvPr>
        </p:nvGraphicFramePr>
        <p:xfrm>
          <a:off x="228600" y="752766"/>
          <a:ext cx="8763000" cy="56661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784">
                  <a:extLst>
                    <a:ext uri="{9D8B030D-6E8A-4147-A177-3AD203B41FA5}">
                      <a16:colId xmlns:a16="http://schemas.microsoft.com/office/drawing/2014/main" val="1299833873"/>
                    </a:ext>
                  </a:extLst>
                </a:gridCol>
                <a:gridCol w="3341816">
                  <a:extLst>
                    <a:ext uri="{9D8B030D-6E8A-4147-A177-3AD203B41FA5}">
                      <a16:colId xmlns:a16="http://schemas.microsoft.com/office/drawing/2014/main" val="286553480"/>
                    </a:ext>
                  </a:extLst>
                </a:gridCol>
                <a:gridCol w="5105400">
                  <a:extLst>
                    <a:ext uri="{9D8B030D-6E8A-4147-A177-3AD203B41FA5}">
                      <a16:colId xmlns:a16="http://schemas.microsoft.com/office/drawing/2014/main" val="1523454191"/>
                    </a:ext>
                  </a:extLst>
                </a:gridCol>
              </a:tblGrid>
              <a:tr h="1680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ряемый параметр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ментар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7500" marR="37500" marT="0" marB="0"/>
                </a:tc>
                <a:extLst>
                  <a:ext uri="{0D108BD9-81ED-4DB2-BD59-A6C34878D82A}">
                    <a16:rowId xmlns:a16="http://schemas.microsoft.com/office/drawing/2014/main" val="869520748"/>
                  </a:ext>
                </a:extLst>
              </a:tr>
              <a:tr h="582612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</a:t>
                      </a:r>
                      <a:endParaRPr lang="ru-RU" sz="11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ована система обучения в организации, в которой достижения проектов по улучшениям являются основой для учебных материалов (кейсов, фабрик процессов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се учебные тренинги по БП адаптированы под специфику организации. В учебные презентации включены кейсы по конкретным реализованным проекта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4164954"/>
                  </a:ext>
                </a:extLst>
              </a:tr>
              <a:tr h="365353">
                <a:tc>
                  <a:txBody>
                    <a:bodyPr/>
                    <a:lstStyle/>
                    <a:p>
                      <a:r>
                        <a:rPr lang="ru-RU" sz="11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2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результатам образца написаны научные работы, лучшие практики образца зафиксированы  в формате публикаций или брошюр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ы научные работы, публикации, брошюр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5649912"/>
                  </a:ext>
                </a:extLst>
              </a:tr>
              <a:tr h="472847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бсуждения успехов и провалов проектов внутри организации, признания лидеров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как они проводят совещания по обсуждению проектов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74012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и идентифицированы подразделения и конкретные сотрудники, которые мотивированы и подготовлены для передачи лучшего опыта образца (беседа, наглядная демонстрация и т.д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мство с конкретными сотрудниками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7644805"/>
                  </a:ext>
                </a:extLst>
              </a:tr>
              <a:tr h="38308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 методических материалов по лучшему опыту образца скомплектован на уровне «коробочного» решен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 пакет методических материалов входят материалы по критериям: М3, М5, М7, М8,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5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5391705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формирования планов мероприятий и стандартизации результатов проектов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формирования планов и разработки стандартов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81016170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оперативного управления проектами по улучшениям</a:t>
                      </a:r>
                      <a:endParaRPr lang="ru-RU" sz="1100" b="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как они реализуют и управляют проектом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884427"/>
                  </a:ext>
                </a:extLst>
              </a:tr>
              <a:tr h="31554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управления большим количеством проектов</a:t>
                      </a:r>
                      <a:endParaRPr lang="ru-RU" sz="1100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проектного офиса организации на предмет создания системы управления большим количеством проектов.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7275792"/>
                  </a:ext>
                </a:extLst>
              </a:tr>
              <a:tr h="336092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демонстрирована способность делиться опытом постановки и реализации целей по </a:t>
                      </a:r>
                      <a:r>
                        <a:rPr lang="en-US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QDCM(E)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рос и интервьюирование сотрудников организации на предмет создания системы целеполагания через мониторинг операционных показателей деятельности (создание деревьев целей, х-матриц и определение набора показателей для мониторинга)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7112277"/>
                  </a:ext>
                </a:extLst>
              </a:tr>
              <a:tr h="568299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учшие практики образца </a:t>
                      </a:r>
                      <a:r>
                        <a:rPr lang="ru-RU" sz="1100" spc="-5" dirty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раза в год 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ываются на межрегиональных, всероссийских</a:t>
                      </a:r>
                      <a:r>
                        <a:rPr lang="ru-RU" sz="1100" spc="-5" baseline="0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ли международных</a:t>
                      </a:r>
                      <a:r>
                        <a:rPr lang="ru-RU" sz="1100" spc="-5" dirty="0" smtClean="0">
                          <a:solidFill>
                            <a:srgbClr val="414142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ференциях</a:t>
                      </a:r>
                      <a:endParaRPr lang="ru-RU" sz="1100" spc="-5" dirty="0">
                        <a:solidFill>
                          <a:srgbClr val="414142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раммы конференций и семинаров на базе организации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разца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4026256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71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xfrm>
            <a:off x="579374" y="1600200"/>
            <a:ext cx="7985251" cy="1769378"/>
          </a:xfrm>
          <a:prstGeom prst="rect">
            <a:avLst/>
          </a:prstGeom>
        </p:spPr>
        <p:txBody>
          <a:bodyPr vert="horz" wrap="square" lIns="0" tIns="837866" rIns="0" bIns="0" rtlCol="0">
            <a:spAutoFit/>
          </a:bodyPr>
          <a:lstStyle/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рекомендаций по подготовке к дистанционной или смешанной работе команды ППКО</a:t>
            </a:r>
          </a:p>
          <a:p>
            <a:pPr marL="720090" algn="l">
              <a:lnSpc>
                <a:spcPct val="100000"/>
              </a:lnSpc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лГУ</a:t>
            </a:r>
            <a:endParaRPr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7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63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8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8</a:t>
            </a:fld>
            <a:endParaRPr sz="18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1981200"/>
            <a:ext cx="6399213" cy="861774"/>
          </a:xfrm>
        </p:spPr>
        <p:txBody>
          <a:bodyPr/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76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368300" y="998539"/>
            <a:ext cx="5567363" cy="459206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00" b="1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тнерская проверк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E5E45776-76F7-6B44-860D-44ECF61356AF}"/>
              </a:ext>
            </a:extLst>
          </p:cNvPr>
          <p:cNvSpPr txBox="1">
            <a:spLocks/>
          </p:cNvSpPr>
          <p:nvPr/>
        </p:nvSpPr>
        <p:spPr>
          <a:xfrm>
            <a:off x="215306" y="1527465"/>
            <a:ext cx="8775700" cy="19777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ru-RU" sz="1200" kern="120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 проверять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но подвергаться проверке</a:t>
            </a:r>
          </a:p>
          <a:p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общая: повысить качество образца</a:t>
            </a:r>
          </a:p>
          <a:p>
            <a:r>
              <a:rPr lang="ru-RU" sz="2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 все учимся, это учебная ситуация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Заголовок 4">
            <a:extLst>
              <a:ext uri="{FF2B5EF4-FFF2-40B4-BE49-F238E27FC236}">
                <a16:creationId xmlns:a16="http://schemas.microsoft.com/office/drawing/2014/main" id="{B659E761-38C5-6F4D-87DD-D512848D1CFB}"/>
              </a:ext>
            </a:extLst>
          </p:cNvPr>
          <p:cNvSpPr txBox="1">
            <a:spLocks/>
          </p:cNvSpPr>
          <p:nvPr/>
        </p:nvSpPr>
        <p:spPr>
          <a:xfrm>
            <a:off x="457200" y="3674350"/>
            <a:ext cx="83820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действие -  получить согласование у куратора от ГК «</a:t>
            </a:r>
            <a:r>
              <a:rPr lang="ru-RU" kern="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</a:t>
            </a:r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в случае федерального или регионального образца  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231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2B554F9-30CE-4E20-BC58-C32F86F235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0464233"/>
              </p:ext>
            </p:extLst>
          </p:nvPr>
        </p:nvGraphicFramePr>
        <p:xfrm>
          <a:off x="323655" y="1066800"/>
          <a:ext cx="8563296" cy="5196423"/>
        </p:xfrm>
        <a:graphic>
          <a:graphicData uri="http://schemas.openxmlformats.org/drawingml/2006/table">
            <a:tbl>
              <a:tblPr/>
              <a:tblGrid>
                <a:gridCol w="2848483">
                  <a:extLst>
                    <a:ext uri="{9D8B030D-6E8A-4147-A177-3AD203B41FA5}">
                      <a16:colId xmlns:a16="http://schemas.microsoft.com/office/drawing/2014/main" val="1682389709"/>
                    </a:ext>
                  </a:extLst>
                </a:gridCol>
                <a:gridCol w="2196231">
                  <a:extLst>
                    <a:ext uri="{9D8B030D-6E8A-4147-A177-3AD203B41FA5}">
                      <a16:colId xmlns:a16="http://schemas.microsoft.com/office/drawing/2014/main" val="3863608140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val="593423312"/>
                    </a:ext>
                  </a:extLst>
                </a:gridCol>
                <a:gridCol w="1759291">
                  <a:extLst>
                    <a:ext uri="{9D8B030D-6E8A-4147-A177-3AD203B41FA5}">
                      <a16:colId xmlns:a16="http://schemas.microsoft.com/office/drawing/2014/main" val="3026585739"/>
                    </a:ext>
                  </a:extLst>
                </a:gridCol>
              </a:tblGrid>
              <a:tr h="43204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казатели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образц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2543287"/>
                  </a:ext>
                </a:extLst>
              </a:tr>
              <a:tr h="288032">
                <a:tc vMerge="1">
                  <a:txBody>
                    <a:bodyPr/>
                    <a:lstStyle/>
                    <a:p>
                      <a:pPr algn="ctr" fontAlgn="b"/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дер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аль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тны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5014814"/>
                  </a:ext>
                </a:extLst>
              </a:tr>
              <a:tr h="706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признания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ОИВ</a:t>
                      </a:r>
                      <a:r>
                        <a:rPr lang="en-US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ли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координационный совет Клуба Губернаторов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вительство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П или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раслевой </a:t>
                      </a: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 компетенций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551574"/>
                  </a:ext>
                </a:extLst>
              </a:tr>
              <a:tr h="5548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ответствие федеральным критериям, (при наличии)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ниже уровня «Развит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зовый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обязательно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429332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деятельности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 в целом ил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ппа организаций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ппа организаций или организация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я или группа процессо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79154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штаб возможного тиража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юбой регион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дельные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гионы РФ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ции </a:t>
                      </a:r>
                      <a:b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нутри регион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031262"/>
                  </a:ext>
                </a:extLst>
              </a:tr>
              <a:tr h="4708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товность к передаче опыта другим организациям на своей площадке, (период)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года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9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 менее 6 месяцев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20574"/>
                  </a:ext>
                </a:extLst>
              </a:tr>
              <a:tr h="52734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ценка при партнерской проверке качества образцов</a:t>
                      </a: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федер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региональ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ровень «местный»</a:t>
                      </a: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45946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емя действия результатов ППКО для образца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го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го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год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295899"/>
                  </a:ext>
                </a:extLst>
              </a:tr>
              <a:tr h="62442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межуточное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подтверждение статуса образца во время действия результатов ППКО</a:t>
                      </a:r>
                      <a:endParaRPr lang="ru-RU" sz="13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т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061773"/>
                  </a:ext>
                </a:extLst>
              </a:tr>
            </a:tbl>
          </a:graphicData>
        </a:graphic>
      </p:graphicFrame>
      <p:sp>
        <p:nvSpPr>
          <p:cNvPr id="9" name="Заголовок 1"/>
          <p:cNvSpPr txBox="1">
            <a:spLocks/>
          </p:cNvSpPr>
          <p:nvPr/>
        </p:nvSpPr>
        <p:spPr>
          <a:xfrm>
            <a:off x="2286000" y="0"/>
            <a:ext cx="5815013" cy="96202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tabLst>
                <a:tab pos="5649913" algn="l"/>
              </a:tabLst>
            </a:pPr>
            <a:r>
              <a:rPr lang="ru-RU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цы лучших практик в регионах</a:t>
            </a:r>
          </a:p>
          <a:p>
            <a:pPr>
              <a:tabLst>
                <a:tab pos="5649913" algn="l"/>
              </a:tabLst>
            </a:pPr>
            <a:r>
              <a:rPr lang="ru-RU" b="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развития и признания</a:t>
            </a: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id="{A5288448-3843-45D3-B3B7-89D921D3BC07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89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0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5B5057C2-45C1-DE48-9E53-96A93A5597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217" y="1390487"/>
            <a:ext cx="8204200" cy="2462213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, делаем уборку. Проводим самооценку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! Не надо создавать иллюзии и рассказывать красиво то, чего нет на практике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ЖНО, ЧТО О НАС ДУМАЮТ ПАРТНЕРЫ! </a:t>
            </a:r>
          </a:p>
          <a:p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ВАЖНО, ЧТО О НАС ДУМАЮТ НАШИ СОТРУДНИКИ!</a:t>
            </a:r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B659E761-38C5-6F4D-87DD-D512848D1CFB}"/>
              </a:ext>
            </a:extLst>
          </p:cNvPr>
          <p:cNvSpPr txBox="1">
            <a:spLocks/>
          </p:cNvSpPr>
          <p:nvPr/>
        </p:nvSpPr>
        <p:spPr>
          <a:xfrm>
            <a:off x="457750" y="980916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к ждать гостей?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491617" y="38862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я ППКО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 txBox="1">
            <a:spLocks/>
          </p:cNvSpPr>
          <p:nvPr/>
        </p:nvSpPr>
        <p:spPr>
          <a:xfrm>
            <a:off x="457750" y="4461411"/>
            <a:ext cx="3903663" cy="76972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де искать членов? В сообществах!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 txBox="1">
            <a:spLocks/>
          </p:cNvSpPr>
          <p:nvPr/>
        </p:nvSpPr>
        <p:spPr>
          <a:xfrm>
            <a:off x="4674680" y="4552017"/>
            <a:ext cx="3906837" cy="76972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ен представитель </a:t>
            </a:r>
            <a:r>
              <a:rPr lang="ru-RU" sz="2000" kern="0" dirty="0" err="1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атома</a:t>
            </a:r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уровень региональный и выше)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9"/>
          <p:cNvSpPr txBox="1">
            <a:spLocks/>
          </p:cNvSpPr>
          <p:nvPr/>
        </p:nvSpPr>
        <p:spPr>
          <a:xfrm>
            <a:off x="457749" y="5343339"/>
            <a:ext cx="3903663" cy="752661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ы представители иных регионов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Текст 10"/>
          <p:cNvSpPr txBox="1">
            <a:spLocks/>
          </p:cNvSpPr>
          <p:nvPr/>
        </p:nvSpPr>
        <p:spPr>
          <a:xfrm>
            <a:off x="4674681" y="5347137"/>
            <a:ext cx="3906837" cy="97746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жны представители региональных ОГВ </a:t>
            </a:r>
            <a:b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kern="0" dirty="0" smtClean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регионального уровня) </a:t>
            </a:r>
          </a:p>
          <a:p>
            <a:endParaRPr lang="ru-RU" kern="0" dirty="0">
              <a:solidFill>
                <a:sysClr val="windowText" lastClr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0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1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43000" y="233561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3"/>
          <p:cNvSpPr txBox="1">
            <a:spLocks/>
          </p:cNvSpPr>
          <p:nvPr/>
        </p:nvSpPr>
        <p:spPr>
          <a:xfrm>
            <a:off x="539749" y="959308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ая работа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4294967295"/>
          </p:nvPr>
        </p:nvSpPr>
        <p:spPr>
          <a:xfrm>
            <a:off x="539749" y="1521993"/>
            <a:ext cx="3903663" cy="1415772"/>
          </a:xfrm>
          <a:prstGeom prst="rect">
            <a:avLst/>
          </a:prstGeo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за 3 часа онлайн можно провести при условии предварительной работы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294967295"/>
          </p:nvPr>
        </p:nvSpPr>
        <p:spPr>
          <a:xfrm>
            <a:off x="4663546" y="1537175"/>
            <a:ext cx="3906837" cy="17235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z="20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неделю собрать всех членов ППКО в отдельном чате и направить все необходимые материалы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4294967295"/>
          </p:nvPr>
        </p:nvSpPr>
        <p:spPr>
          <a:xfrm>
            <a:off x="548216" y="2732899"/>
            <a:ext cx="3903663" cy="1107996"/>
          </a:xfrm>
          <a:prstGeom prst="rect">
            <a:avLst/>
          </a:prstGeo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еративно в чате отвечать на вопросы членов комисси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4294967295"/>
          </p:nvPr>
        </p:nvSpPr>
        <p:spPr>
          <a:xfrm>
            <a:off x="4697413" y="2938062"/>
            <a:ext cx="3906837" cy="1415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z="2000" dirty="0">
                <a:solidFill>
                  <a:sysClr val="windowText" lastClr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писать процедуру проведения ППКО и согласовать ее с членами комиссии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Текст 1"/>
          <p:cNvSpPr>
            <a:spLocks noGrp="1"/>
          </p:cNvSpPr>
          <p:nvPr>
            <p:ph type="body" idx="1"/>
          </p:nvPr>
        </p:nvSpPr>
        <p:spPr>
          <a:xfrm>
            <a:off x="548216" y="4511426"/>
            <a:ext cx="7747000" cy="1231106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жите так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экскурсию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как водите бережливые экскурсии обычно, не углубляясь в проекты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жно использовать рекомендации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лГУ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проведению экскурсии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4"/>
          <p:cNvSpPr txBox="1">
            <a:spLocks/>
          </p:cNvSpPr>
          <p:nvPr/>
        </p:nvSpPr>
        <p:spPr>
          <a:xfrm>
            <a:off x="565149" y="4036943"/>
            <a:ext cx="156845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скурсия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12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2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1"/>
          <p:cNvSpPr>
            <a:spLocks noGrp="1"/>
          </p:cNvSpPr>
          <p:nvPr>
            <p:ph type="body" idx="1"/>
          </p:nvPr>
        </p:nvSpPr>
        <p:spPr>
          <a:xfrm>
            <a:off x="457200" y="2209800"/>
            <a:ext cx="7747000" cy="4370427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Результаты самооценки с заполненными чек-листами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Материалы, подтверждающие достижение критериев: цели и паспорта проектов. 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Итоговые презентации по завершенным проектам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ветствуется видео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ртина будет видна. И вопросы сразу появятся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желанию организации и членов ППКО: все, что готовы направить. Стараться не отправлять мусор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482600" y="1219200"/>
            <a:ext cx="8213217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ru-RU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ые материалы (не менее чем за неделю до даты ППКО)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247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3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228600" y="10668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1"/>
          <p:cNvSpPr>
            <a:spLocks noGrp="1"/>
          </p:cNvSpPr>
          <p:nvPr>
            <p:ph type="body" idx="1"/>
          </p:nvPr>
        </p:nvSpPr>
        <p:spPr>
          <a:xfrm>
            <a:off x="254000" y="1447800"/>
            <a:ext cx="8585200" cy="4924425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ьте: 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реализованных проектов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реализуемых проектов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х проектов, которые Вы готовы продемонстрировать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годня (5-8) – возможно больше исходя из уровня образца. Важно! Презентации по всем проектам отправлены членам комиссии предварительно. </a:t>
            </a:r>
          </a:p>
          <a:p>
            <a:r>
              <a:rPr lang="ru-RU" sz="20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</a:t>
            </a:r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проекта, отправляемся в 3 сессионных зала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кую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дуру можно повторить несколько раз.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ьте: 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 организации по основным разделам. Смотрим в проектном офисе и свежую презентацию по целям.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товим 3-5 структурных подразделения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структурных подразделения, отправляемся в 2 сессионных зала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27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4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4"/>
          <p:cNvSpPr txBox="1">
            <a:spLocks/>
          </p:cNvSpPr>
          <p:nvPr/>
        </p:nvSpPr>
        <p:spPr>
          <a:xfrm>
            <a:off x="304800" y="1066800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1"/>
          <p:cNvSpPr>
            <a:spLocks noGrp="1"/>
          </p:cNvSpPr>
          <p:nvPr>
            <p:ph type="body" idx="1"/>
          </p:nvPr>
        </p:nvSpPr>
        <p:spPr>
          <a:xfrm>
            <a:off x="304800" y="1447800"/>
            <a:ext cx="7747000" cy="3447098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ППУ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ценарии фабрики процессов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матрицу компетенций. </a:t>
            </a:r>
            <a:b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бираем ФИО, отправляемся в 2-3 сессионных зала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91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5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19200" y="304800"/>
            <a:ext cx="6399213" cy="615553"/>
          </a:xfrm>
        </p:spPr>
        <p:txBody>
          <a:bodyPr/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лайн</a:t>
            </a:r>
            <a:b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организаций образо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Текст 1"/>
          <p:cNvSpPr>
            <a:spLocks noGrp="1"/>
          </p:cNvSpPr>
          <p:nvPr>
            <p:ph type="body" idx="1"/>
          </p:nvPr>
        </p:nvSpPr>
        <p:spPr>
          <a:xfrm>
            <a:off x="1143000" y="2514600"/>
            <a:ext cx="7747000" cy="2523768"/>
          </a:xfrm>
        </p:spPr>
        <p:txBody>
          <a:bodyPr/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возможности тиражирования</a:t>
            </a: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пехи и провалы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914400" y="1074739"/>
            <a:ext cx="5567363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3174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ru-RU" kern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раздел</a:t>
            </a:r>
            <a:endParaRPr lang="ru-RU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2F1755B9-D38C-4D45-B23D-50DEFE885B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37" y="31638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4F58E296-617F-284D-8A02-A24DC2F90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37" y="33162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AC215F6A-AADB-934E-AAAC-A0FAF05DF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37" y="34686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700AE67D-0D55-6140-AF87-734452588E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737" y="36210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07F086DF-408B-8143-A505-D3B35A971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137" y="37734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36F008CE-BD60-2F46-9F7C-BF40A27B76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537" y="39258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FA3095A2-24C9-F54F-8E60-73F0F2460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937" y="40782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User\Desktop\презы\dФайлы для презентации_2508-01.png">
            <a:extLst>
              <a:ext uri="{FF2B5EF4-FFF2-40B4-BE49-F238E27FC236}">
                <a16:creationId xmlns:a16="http://schemas.microsoft.com/office/drawing/2014/main" id="{FE61733E-F79F-6044-BD9C-1C50D39F1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337" y="4230623"/>
            <a:ext cx="402862" cy="95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784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572" y="1350000"/>
            <a:ext cx="8253028" cy="4746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4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7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494" y="1066801"/>
            <a:ext cx="8504706" cy="535209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3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8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23" y="1219200"/>
            <a:ext cx="8806422" cy="44958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78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59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37" y="1066800"/>
            <a:ext cx="8799424" cy="5181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8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722620" y="3198876"/>
            <a:ext cx="3421379" cy="32034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99644" y="2780919"/>
            <a:ext cx="5439156" cy="34624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8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sz="18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800" b="1" spc="-5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800" b="1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</a:t>
            </a:r>
            <a:r>
              <a:rPr sz="18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</a:t>
            </a:r>
            <a:r>
              <a:rPr sz="18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8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8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 marR="5080" indent="-284480" algn="just">
              <a:lnSpc>
                <a:spcPct val="100000"/>
              </a:lnSpc>
              <a:spcBef>
                <a:spcPts val="61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3168650" algn="l"/>
                <a:tab pos="5150485" algn="l"/>
              </a:tabLst>
            </a:pP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рес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сти</a:t>
            </a:r>
            <a:r>
              <a:rPr sz="16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а</a:t>
            </a:r>
            <a:r>
              <a:rPr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1600" spc="10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в бережливого производства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sz="1600" spc="9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м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о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sz="1600" spc="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с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регионов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 indent="-284480">
              <a:lnSpc>
                <a:spcPct val="100000"/>
              </a:lnSpc>
              <a:spcBef>
                <a:spcPts val="1200"/>
              </a:spcBef>
              <a:buClr>
                <a:srgbClr val="414142"/>
              </a:buClr>
              <a:buFont typeface="Arial"/>
              <a:buChar char="•"/>
              <a:tabLst>
                <a:tab pos="297815" algn="l"/>
                <a:tab pos="1553210" algn="l"/>
                <a:tab pos="2632075" algn="l"/>
                <a:tab pos="3594100" algn="l"/>
                <a:tab pos="4513580" algn="l"/>
              </a:tabLst>
            </a:pP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ч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ы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,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>
              <a:lnSpc>
                <a:spcPct val="100000"/>
              </a:lnSpc>
            </a:pP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кти</a:t>
            </a:r>
            <a:r>
              <a:rPr sz="1600" spc="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lang="ru-RU" sz="1600" spc="-5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97180">
              <a:lnSpc>
                <a:spcPct val="100000"/>
              </a:lnSpc>
            </a:pP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600" spc="-6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sz="1600" spc="-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х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sz="1600" spc="-2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3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6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8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м</a:t>
            </a:r>
            <a:endParaRPr lang="ru-RU" sz="1600" spc="-5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endParaRPr lang="ru-RU" sz="1600" dirty="0">
              <a:solidFill>
                <a:srgbClr val="41414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indent="-283464" fontAlgn="t">
              <a:buClr>
                <a:srgbClr val="414142"/>
              </a:buClr>
              <a:buSzPts val="1600"/>
              <a:buFont typeface="Arial" panose="020B0604020202020204" pitchFamily="34" charset="0"/>
              <a:buChar char="•"/>
              <a:tabLst>
                <a:tab pos="320040" algn="l"/>
              </a:tabLst>
            </a:pP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6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 с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 с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 и о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с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 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20040" fontAlgn="t"/>
            <a:r>
              <a:rPr lang="ru-RU"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 и 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6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1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</a:t>
            </a:r>
            <a:r>
              <a:rPr lang="ru-RU"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</a:t>
            </a:r>
            <a:r>
              <a:rPr lang="ru-RU"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я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н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х</a:t>
            </a:r>
            <a:r>
              <a:rPr lang="ru-RU" sz="16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lang="ru-RU" sz="16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ш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ели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r>
              <a:rPr spc="-2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ртнерской проверки качества образцов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0685" y="2780919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19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696972" y="1073213"/>
            <a:ext cx="6195695" cy="1108075"/>
          </a:xfrm>
          <a:custGeom>
            <a:avLst/>
            <a:gdLst/>
            <a:ahLst/>
            <a:cxnLst/>
            <a:rect l="l" t="t" r="r" b="b"/>
            <a:pathLst>
              <a:path w="6195695" h="1108075">
                <a:moveTo>
                  <a:pt x="0" y="1107757"/>
                </a:moveTo>
                <a:lnTo>
                  <a:pt x="6195568" y="1107757"/>
                </a:lnTo>
                <a:lnTo>
                  <a:pt x="6195568" y="0"/>
                </a:lnTo>
                <a:lnTo>
                  <a:pt x="0" y="0"/>
                </a:lnTo>
                <a:lnTo>
                  <a:pt x="0" y="110775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378443" y="1238950"/>
            <a:ext cx="652071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just"/>
            <a:r>
              <a:rPr lang="ru-RU" sz="1600" b="1" spc="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lang="ru-RU" sz="16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	партнерской проверки качества образцов (ППКО)	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lang="ru-RU" sz="1600" spc="-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600" spc="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spc="-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</a:t>
            </a:r>
            <a:r>
              <a:rPr lang="ru-RU"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 организации 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2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-4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spc="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ответствующего уровня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</a:t>
            </a:r>
            <a:r>
              <a:rPr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6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ки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7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5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</a:t>
            </a:r>
            <a:r>
              <a:rPr sz="16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6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я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в бережливого производства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а</a:t>
            </a:r>
            <a:r>
              <a:rPr sz="1600" spc="-4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</a:t>
            </a:r>
            <a:r>
              <a:rPr sz="16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lang="ru-RU" sz="16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ыявление лучших практик и</a:t>
            </a:r>
            <a:r>
              <a:rPr sz="1600" spc="1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раб</a:t>
            </a:r>
            <a:r>
              <a:rPr sz="1600" spc="-5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6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sz="1600" spc="1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6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л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ль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ше</a:t>
            </a:r>
            <a:r>
              <a:rPr sz="1600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6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600" spc="-2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ит</a:t>
            </a:r>
            <a:r>
              <a:rPr sz="16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6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6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99644" y="1062227"/>
            <a:ext cx="2141220" cy="16078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710D08DA-9EBB-433A-A3C2-E3A76C1002A3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2400" y="101459"/>
            <a:ext cx="279400" cy="3336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8">
            <a:extLst>
              <a:ext uri="{FF2B5EF4-FFF2-40B4-BE49-F238E27FC236}">
                <a16:creationId xmlns:a16="http://schemas.microsoft.com/office/drawing/2014/main" id="{D2ACBAE5-0196-419D-BF80-1DD8D4FF2C2A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3290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/>
              <a:t>60</a:t>
            </a:fld>
            <a:endParaRPr sz="1400" b="1" spc="-1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066800"/>
            <a:ext cx="8384808" cy="51816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07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20788" y="1877060"/>
            <a:ext cx="3029585" cy="1040130"/>
          </a:xfrm>
          <a:custGeom>
            <a:avLst/>
            <a:gdLst/>
            <a:ahLst/>
            <a:cxnLst/>
            <a:rect l="l" t="t" r="r" b="b"/>
            <a:pathLst>
              <a:path w="3029585" h="1040130">
                <a:moveTo>
                  <a:pt x="0" y="1039876"/>
                </a:moveTo>
                <a:lnTo>
                  <a:pt x="3029077" y="1039876"/>
                </a:lnTo>
                <a:lnTo>
                  <a:pt x="3029077" y="0"/>
                </a:lnTo>
                <a:lnTo>
                  <a:pt x="0" y="0"/>
                </a:lnTo>
                <a:lnTo>
                  <a:pt x="0" y="10398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20788" y="1476883"/>
            <a:ext cx="3029585" cy="1857502"/>
          </a:xfrm>
          <a:custGeom>
            <a:avLst/>
            <a:gdLst/>
            <a:ahLst/>
            <a:cxnLst/>
            <a:rect l="l" t="t" r="r" b="b"/>
            <a:pathLst>
              <a:path w="3029585" h="1440180">
                <a:moveTo>
                  <a:pt x="0" y="1440052"/>
                </a:moveTo>
                <a:lnTo>
                  <a:pt x="3029077" y="1440052"/>
                </a:lnTo>
                <a:lnTo>
                  <a:pt x="3029077" y="0"/>
                </a:lnTo>
                <a:lnTo>
                  <a:pt x="0" y="0"/>
                </a:lnTo>
                <a:lnTo>
                  <a:pt x="0" y="1440052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20788" y="4917897"/>
            <a:ext cx="3029585" cy="9525"/>
          </a:xfrm>
          <a:custGeom>
            <a:avLst/>
            <a:gdLst/>
            <a:ahLst/>
            <a:cxnLst/>
            <a:rect l="l" t="t" r="r" b="b"/>
            <a:pathLst>
              <a:path w="3029585" h="9525">
                <a:moveTo>
                  <a:pt x="0" y="8991"/>
                </a:moveTo>
                <a:lnTo>
                  <a:pt x="3029077" y="8991"/>
                </a:lnTo>
                <a:lnTo>
                  <a:pt x="3029077" y="0"/>
                </a:lnTo>
                <a:lnTo>
                  <a:pt x="0" y="0"/>
                </a:lnTo>
                <a:lnTo>
                  <a:pt x="0" y="89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20788" y="4482314"/>
            <a:ext cx="3029585" cy="1875763"/>
          </a:xfrm>
          <a:custGeom>
            <a:avLst/>
            <a:gdLst/>
            <a:ahLst/>
            <a:cxnLst/>
            <a:rect l="l" t="t" r="r" b="b"/>
            <a:pathLst>
              <a:path w="3029585" h="1440179">
                <a:moveTo>
                  <a:pt x="0" y="1440180"/>
                </a:moveTo>
                <a:lnTo>
                  <a:pt x="3029077" y="1440180"/>
                </a:lnTo>
                <a:lnTo>
                  <a:pt x="3029077" y="0"/>
                </a:lnTo>
                <a:lnTo>
                  <a:pt x="0" y="0"/>
                </a:lnTo>
                <a:lnTo>
                  <a:pt x="0" y="1440180"/>
                </a:lnTo>
                <a:close/>
              </a:path>
            </a:pathLst>
          </a:custGeom>
          <a:ln w="9525">
            <a:solidFill>
              <a:srgbClr val="737373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516457" y="404830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568439" y="3150489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099"/>
                </a:moveTo>
                <a:lnTo>
                  <a:pt x="5933" y="114199"/>
                </a:lnTo>
                <a:lnTo>
                  <a:pt x="22645" y="75821"/>
                </a:lnTo>
                <a:lnTo>
                  <a:pt x="48507" y="43598"/>
                </a:lnTo>
                <a:lnTo>
                  <a:pt x="81887" y="19161"/>
                </a:lnTo>
                <a:lnTo>
                  <a:pt x="121156" y="4142"/>
                </a:lnTo>
                <a:lnTo>
                  <a:pt x="157162" y="0"/>
                </a:lnTo>
                <a:lnTo>
                  <a:pt x="171872" y="679"/>
                </a:lnTo>
                <a:lnTo>
                  <a:pt x="186199" y="2677"/>
                </a:lnTo>
                <a:lnTo>
                  <a:pt x="226285" y="15976"/>
                </a:lnTo>
                <a:lnTo>
                  <a:pt x="260754" y="38964"/>
                </a:lnTo>
                <a:lnTo>
                  <a:pt x="287977" y="70010"/>
                </a:lnTo>
                <a:lnTo>
                  <a:pt x="306321" y="107480"/>
                </a:lnTo>
                <a:lnTo>
                  <a:pt x="314155" y="149743"/>
                </a:lnTo>
                <a:lnTo>
                  <a:pt x="314325" y="157099"/>
                </a:lnTo>
                <a:lnTo>
                  <a:pt x="313646" y="171815"/>
                </a:lnTo>
                <a:lnTo>
                  <a:pt x="311649" y="186147"/>
                </a:lnTo>
                <a:lnTo>
                  <a:pt x="298357" y="226242"/>
                </a:lnTo>
                <a:lnTo>
                  <a:pt x="275379" y="260716"/>
                </a:lnTo>
                <a:lnTo>
                  <a:pt x="244344" y="287943"/>
                </a:lnTo>
                <a:lnTo>
                  <a:pt x="206882" y="306297"/>
                </a:lnTo>
                <a:lnTo>
                  <a:pt x="164623" y="314151"/>
                </a:lnTo>
                <a:lnTo>
                  <a:pt x="157162" y="314325"/>
                </a:lnTo>
                <a:lnTo>
                  <a:pt x="142456" y="313646"/>
                </a:lnTo>
                <a:lnTo>
                  <a:pt x="128133" y="311649"/>
                </a:lnTo>
                <a:lnTo>
                  <a:pt x="88059" y="298358"/>
                </a:lnTo>
                <a:lnTo>
                  <a:pt x="53598" y="275377"/>
                </a:lnTo>
                <a:lnTo>
                  <a:pt x="26378" y="244334"/>
                </a:lnTo>
                <a:lnTo>
                  <a:pt x="8027" y="206855"/>
                </a:lnTo>
                <a:lnTo>
                  <a:pt x="173" y="164566"/>
                </a:lnTo>
                <a:lnTo>
                  <a:pt x="0" y="157099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19739" y="4104256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4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80986" y="4985765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4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25601" y="4172638"/>
            <a:ext cx="162247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90830" algn="l"/>
              </a:tabLs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вая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40692" y="4073206"/>
            <a:ext cx="215444" cy="124904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4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шн</a:t>
            </a:r>
            <a:r>
              <a:rPr lang="ru-RU" sz="14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я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2351" y="3733800"/>
            <a:ext cx="8820150" cy="0"/>
          </a:xfrm>
          <a:custGeom>
            <a:avLst/>
            <a:gdLst/>
            <a:ahLst/>
            <a:cxnLst/>
            <a:rect l="l" t="t" r="r" b="b"/>
            <a:pathLst>
              <a:path w="8820150">
                <a:moveTo>
                  <a:pt x="0" y="0"/>
                </a:moveTo>
                <a:lnTo>
                  <a:pt x="882001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34111" y="1890193"/>
            <a:ext cx="278955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лен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ом создания образца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2069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г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щего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я</a:t>
            </a:r>
            <a:r>
              <a:rPr sz="12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в организации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46037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5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ых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е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о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н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640962" y="1479094"/>
            <a:ext cx="1616837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ка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>
              <a:lnSpc>
                <a:spcPct val="100000"/>
              </a:lnSpc>
            </a:pP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звития образца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355082" y="1347903"/>
            <a:ext cx="1725295" cy="7412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енны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</a:t>
            </a:r>
            <a:r>
              <a:rPr lang="en-US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астн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355082" y="2042974"/>
            <a:ext cx="1703705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оди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ь</a:t>
            </a:r>
            <a:r>
              <a:rPr sz="11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разделения по развитию бережливого производства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177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и руководителя</a:t>
            </a:r>
            <a:r>
              <a:rPr sz="11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/ 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</a:t>
            </a:r>
            <a:r>
              <a:rPr sz="11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1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ы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350890" y="1021005"/>
            <a:ext cx="134747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 УЧ</a:t>
            </a:r>
            <a:r>
              <a:rPr sz="1100" b="1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КИ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629025" y="1021005"/>
            <a:ext cx="52895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20788" y="1445056"/>
            <a:ext cx="3029585" cy="432434"/>
          </a:xfrm>
          <a:custGeom>
            <a:avLst/>
            <a:gdLst/>
            <a:ahLst/>
            <a:cxnLst/>
            <a:rect l="l" t="t" r="r" b="b"/>
            <a:pathLst>
              <a:path w="3029585" h="432435">
                <a:moveTo>
                  <a:pt x="0" y="432003"/>
                </a:moveTo>
                <a:lnTo>
                  <a:pt x="3029077" y="432003"/>
                </a:lnTo>
                <a:lnTo>
                  <a:pt x="3029077" y="0"/>
                </a:lnTo>
                <a:lnTo>
                  <a:pt x="0" y="0"/>
                </a:lnTo>
                <a:lnTo>
                  <a:pt x="0" y="432003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656785" y="3910952"/>
            <a:ext cx="1604303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04470" marR="493395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ка организаци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>
              <a:lnSpc>
                <a:spcPct val="100000"/>
              </a:lnSpc>
            </a:pP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ru-RU"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м развития образца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04470" marR="5080" indent="-191770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</a:t>
            </a:r>
            <a:r>
              <a:rPr sz="12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ой 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й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463715" y="3900513"/>
            <a:ext cx="1907095" cy="18620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</a:t>
            </a:r>
            <a:r>
              <a:rPr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венны</a:t>
            </a:r>
            <a:r>
              <a:rPr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й</a:t>
            </a:r>
            <a:r>
              <a:rPr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проектный офис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lang="ru-RU" sz="1100" dirty="0">
              <a:solidFill>
                <a:srgbClr val="40404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tabLst>
                <a:tab pos="205104" algn="l"/>
              </a:tabLst>
            </a:pP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став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spc="-5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100" spc="-10" dirty="0" err="1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егионов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100" spc="-2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100" spc="-1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100" spc="-5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marL="12700" marR="10795">
              <a:buClr>
                <a:srgbClr val="737373"/>
              </a:buClr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образцов местного уровня:</a:t>
            </a:r>
          </a:p>
          <a:p>
            <a:pPr marL="184150" marR="10795" indent="-171450">
              <a:buClr>
                <a:srgbClr val="737373"/>
              </a:buClr>
              <a:buFont typeface="Arial" panose="020B0604020202020204" pitchFamily="34" charset="0"/>
              <a:buChar char="•"/>
              <a:tabLst>
                <a:tab pos="205104" algn="l"/>
              </a:tabLst>
            </a:pPr>
            <a:r>
              <a:rPr lang="ru-RU" sz="1100" dirty="0">
                <a:solidFill>
                  <a:srgbClr val="40404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ители организаций региона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10795">
              <a:lnSpc>
                <a:spcPct val="100000"/>
              </a:lnSpc>
              <a:buClr>
                <a:srgbClr val="737373"/>
              </a:buClr>
              <a:buFont typeface="Arial"/>
              <a:buChar char="▪"/>
              <a:tabLst>
                <a:tab pos="205104" algn="l"/>
              </a:tabLst>
            </a:pP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7459471" y="1021005"/>
            <a:ext cx="1317625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/ П</a:t>
            </a: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1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ОДИЧНОС</a:t>
            </a:r>
            <a:r>
              <a:rPr sz="11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7500619" y="1479094"/>
            <a:ext cx="1287780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</a:pP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яет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р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1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дац</a:t>
            </a:r>
            <a:r>
              <a:rPr sz="11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100" spc="-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1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1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</a:t>
            </a:r>
            <a:r>
              <a:rPr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 чем за 2 недели до целевой даты создания образца и далее не реже 1 раза в год)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427157" y="3915234"/>
            <a:ext cx="1491783" cy="20313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1100" spc="-5" dirty="0">
                <a:solidFill>
                  <a:srgbClr val="1F1F2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плановой дате создания образца, </a:t>
            </a:r>
            <a:r>
              <a:rPr lang="ru-RU" sz="1100" spc="-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тем </a:t>
            </a:r>
            <a:r>
              <a:rPr lang="ru-RU" sz="11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жегодно для местного уровня, один раз в два года для регионального и один раз в три года для федерального уровня.</a:t>
            </a:r>
          </a:p>
          <a:p>
            <a:pPr marL="12700" marR="5080">
              <a:lnSpc>
                <a:spcPct val="100000"/>
              </a:lnSpc>
            </a:pPr>
            <a:r>
              <a:rPr lang="ru-RU" sz="1100" b="1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лучае изменения уровня образца </a:t>
            </a:r>
            <a:r>
              <a:rPr lang="ru-RU" sz="1100" spc="-5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по решению организации в любое время</a:t>
            </a:r>
            <a:endParaRPr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80986" y="4669308"/>
            <a:ext cx="2522855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</a:t>
            </a:r>
            <a:r>
              <a:rPr sz="12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2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а</a:t>
            </a:r>
            <a:r>
              <a:rPr sz="12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2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2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тверждение соответствия образца критериям качества соответствующего уровня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01192" y="1021005"/>
            <a:ext cx="4648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ДЫ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157162" y="0"/>
                </a:moveTo>
                <a:lnTo>
                  <a:pt x="107437" y="8027"/>
                </a:lnTo>
                <a:lnTo>
                  <a:pt x="69974" y="26381"/>
                </a:lnTo>
                <a:lnTo>
                  <a:pt x="38941" y="53608"/>
                </a:lnTo>
                <a:lnTo>
                  <a:pt x="15965" y="88082"/>
                </a:lnTo>
                <a:lnTo>
                  <a:pt x="2675" y="128177"/>
                </a:lnTo>
                <a:lnTo>
                  <a:pt x="0" y="157225"/>
                </a:lnTo>
                <a:lnTo>
                  <a:pt x="169" y="164581"/>
                </a:lnTo>
                <a:lnTo>
                  <a:pt x="8002" y="206844"/>
                </a:lnTo>
                <a:lnTo>
                  <a:pt x="26344" y="244314"/>
                </a:lnTo>
                <a:lnTo>
                  <a:pt x="53565" y="275360"/>
                </a:lnTo>
                <a:lnTo>
                  <a:pt x="88034" y="298348"/>
                </a:lnTo>
                <a:lnTo>
                  <a:pt x="128121" y="311647"/>
                </a:lnTo>
                <a:lnTo>
                  <a:pt x="157162" y="314325"/>
                </a:lnTo>
                <a:lnTo>
                  <a:pt x="164522" y="314155"/>
                </a:lnTo>
                <a:lnTo>
                  <a:pt x="206807" y="306323"/>
                </a:lnTo>
                <a:lnTo>
                  <a:pt x="244293" y="287983"/>
                </a:lnTo>
                <a:lnTo>
                  <a:pt x="275349" y="260770"/>
                </a:lnTo>
                <a:lnTo>
                  <a:pt x="298345" y="226313"/>
                </a:lnTo>
                <a:lnTo>
                  <a:pt x="311647" y="186247"/>
                </a:lnTo>
                <a:lnTo>
                  <a:pt x="314325" y="157225"/>
                </a:lnTo>
                <a:lnTo>
                  <a:pt x="314150" y="149758"/>
                </a:lnTo>
                <a:lnTo>
                  <a:pt x="306296" y="107469"/>
                </a:lnTo>
                <a:lnTo>
                  <a:pt x="287943" y="69990"/>
                </a:lnTo>
                <a:lnTo>
                  <a:pt x="260721" y="38947"/>
                </a:lnTo>
                <a:lnTo>
                  <a:pt x="226259" y="15966"/>
                </a:lnTo>
                <a:lnTo>
                  <a:pt x="186188" y="2675"/>
                </a:lnTo>
                <a:lnTo>
                  <a:pt x="157162" y="0"/>
                </a:lnTo>
                <a:close/>
              </a:path>
            </a:pathLst>
          </a:custGeom>
          <a:solidFill>
            <a:srgbClr val="5F5F5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68439" y="1503933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70051" y="1578943"/>
            <a:ext cx="142684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302895" algn="l"/>
              </a:tabLst>
            </a:pP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	Са</a:t>
            </a:r>
            <a:r>
              <a:rPr sz="12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о</a:t>
            </a:r>
            <a:r>
              <a:rPr sz="12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20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200" b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ль</a:t>
            </a:r>
            <a:endParaRPr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18998" y="1357122"/>
            <a:ext cx="3024505" cy="0"/>
          </a:xfrm>
          <a:custGeom>
            <a:avLst/>
            <a:gdLst/>
            <a:ahLst/>
            <a:cxnLst/>
            <a:rect l="l" t="t" r="r" b="b"/>
            <a:pathLst>
              <a:path w="3024504">
                <a:moveTo>
                  <a:pt x="0" y="0"/>
                </a:moveTo>
                <a:lnTo>
                  <a:pt x="302404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636898" y="1357122"/>
            <a:ext cx="1476375" cy="0"/>
          </a:xfrm>
          <a:custGeom>
            <a:avLst/>
            <a:gdLst/>
            <a:ahLst/>
            <a:cxnLst/>
            <a:rect l="l" t="t" r="r" b="b"/>
            <a:pathLst>
              <a:path w="1476375">
                <a:moveTo>
                  <a:pt x="0" y="0"/>
                </a:moveTo>
                <a:lnTo>
                  <a:pt x="1476121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313934" y="1357122"/>
            <a:ext cx="1908175" cy="0"/>
          </a:xfrm>
          <a:custGeom>
            <a:avLst/>
            <a:gdLst/>
            <a:ahLst/>
            <a:cxnLst/>
            <a:rect l="l" t="t" r="r" b="b"/>
            <a:pathLst>
              <a:path w="1908175">
                <a:moveTo>
                  <a:pt x="0" y="0"/>
                </a:moveTo>
                <a:lnTo>
                  <a:pt x="1907920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7423657" y="1357122"/>
            <a:ext cx="1548130" cy="0"/>
          </a:xfrm>
          <a:custGeom>
            <a:avLst/>
            <a:gdLst/>
            <a:ahLst/>
            <a:cxnLst/>
            <a:rect l="l" t="t" r="r" b="b"/>
            <a:pathLst>
              <a:path w="1548129">
                <a:moveTo>
                  <a:pt x="0" y="0"/>
                </a:moveTo>
                <a:lnTo>
                  <a:pt x="1548002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40692" y="1467307"/>
            <a:ext cx="215444" cy="142430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4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утренняя</a:t>
            </a:r>
            <a:endParaRPr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72351" y="1357122"/>
            <a:ext cx="288290" cy="0"/>
          </a:xfrm>
          <a:custGeom>
            <a:avLst/>
            <a:gdLst/>
            <a:ahLst/>
            <a:cxnLst/>
            <a:rect l="l" t="t" r="r" b="b"/>
            <a:pathLst>
              <a:path w="288290">
                <a:moveTo>
                  <a:pt x="0" y="0"/>
                </a:moveTo>
                <a:lnTo>
                  <a:pt x="28799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64084" y="1021005"/>
            <a:ext cx="10350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#</a:t>
            </a:r>
            <a:endParaRPr sz="11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38390" y="3944435"/>
            <a:ext cx="161925" cy="2395279"/>
          </a:xfrm>
          <a:custGeom>
            <a:avLst/>
            <a:gdLst/>
            <a:ahLst/>
            <a:cxnLst/>
            <a:rect l="l" t="t" r="r" b="b"/>
            <a:pathLst>
              <a:path w="152400" h="3276600">
                <a:moveTo>
                  <a:pt x="152031" y="3276038"/>
                </a:moveTo>
                <a:lnTo>
                  <a:pt x="98744" y="3272403"/>
                </a:lnTo>
                <a:lnTo>
                  <a:pt x="76009" y="3263364"/>
                </a:lnTo>
                <a:lnTo>
                  <a:pt x="76009" y="1650743"/>
                </a:lnTo>
                <a:lnTo>
                  <a:pt x="73353" y="1647413"/>
                </a:lnTo>
                <a:lnTo>
                  <a:pt x="65851" y="1644410"/>
                </a:lnTo>
                <a:lnTo>
                  <a:pt x="21282" y="1638550"/>
                </a:lnTo>
                <a:lnTo>
                  <a:pt x="0" y="1638043"/>
                </a:lnTo>
                <a:lnTo>
                  <a:pt x="19988" y="1637598"/>
                </a:lnTo>
                <a:lnTo>
                  <a:pt x="37981" y="1636340"/>
                </a:lnTo>
                <a:lnTo>
                  <a:pt x="75996" y="1625578"/>
                </a:lnTo>
                <a:lnTo>
                  <a:pt x="76009" y="1625343"/>
                </a:lnTo>
                <a:lnTo>
                  <a:pt x="76009" y="12697"/>
                </a:lnTo>
                <a:lnTo>
                  <a:pt x="112896" y="1814"/>
                </a:lnTo>
                <a:lnTo>
                  <a:pt x="130728" y="505"/>
                </a:lnTo>
                <a:lnTo>
                  <a:pt x="150603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47916" y="1445135"/>
            <a:ext cx="152400" cy="1476375"/>
          </a:xfrm>
          <a:custGeom>
            <a:avLst/>
            <a:gdLst/>
            <a:ahLst/>
            <a:cxnLst/>
            <a:rect l="l" t="t" r="r" b="b"/>
            <a:pathLst>
              <a:path w="152400" h="1476375">
                <a:moveTo>
                  <a:pt x="152031" y="1475991"/>
                </a:moveTo>
                <a:lnTo>
                  <a:pt x="98746" y="1472339"/>
                </a:lnTo>
                <a:lnTo>
                  <a:pt x="76009" y="1463291"/>
                </a:lnTo>
                <a:lnTo>
                  <a:pt x="76009" y="750567"/>
                </a:lnTo>
                <a:lnTo>
                  <a:pt x="73351" y="747246"/>
                </a:lnTo>
                <a:lnTo>
                  <a:pt x="65846" y="744265"/>
                </a:lnTo>
                <a:lnTo>
                  <a:pt x="21256" y="738490"/>
                </a:lnTo>
                <a:lnTo>
                  <a:pt x="0" y="737994"/>
                </a:lnTo>
                <a:lnTo>
                  <a:pt x="19988" y="737549"/>
                </a:lnTo>
                <a:lnTo>
                  <a:pt x="37981" y="736291"/>
                </a:lnTo>
                <a:lnTo>
                  <a:pt x="75996" y="725529"/>
                </a:lnTo>
                <a:lnTo>
                  <a:pt x="76009" y="725294"/>
                </a:lnTo>
                <a:lnTo>
                  <a:pt x="76009" y="12570"/>
                </a:lnTo>
                <a:lnTo>
                  <a:pt x="112914" y="1778"/>
                </a:lnTo>
                <a:lnTo>
                  <a:pt x="130754" y="493"/>
                </a:lnTo>
                <a:lnTo>
                  <a:pt x="150637" y="0"/>
                </a:lnTo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object 50"/>
          <p:cNvSpPr txBox="1">
            <a:spLocks noGrp="1"/>
          </p:cNvSpPr>
          <p:nvPr>
            <p:ph type="title"/>
          </p:nvPr>
        </p:nvSpPr>
        <p:spPr>
          <a:xfrm>
            <a:off x="1401825" y="248973"/>
            <a:ext cx="4622800" cy="452882"/>
          </a:xfrm>
          <a:prstGeom prst="rect">
            <a:avLst/>
          </a:prstGeom>
        </p:spPr>
        <p:txBody>
          <a:bodyPr vert="horz" wrap="square" lIns="0" tIns="158942" rIns="0" bIns="0" rtlCol="0">
            <a:spAutoFit/>
          </a:bodyPr>
          <a:lstStyle/>
          <a:p>
            <a:pPr marL="23495">
              <a:lnSpc>
                <a:spcPct val="100000"/>
              </a:lnSpc>
            </a:pPr>
            <a:r>
              <a:rPr sz="19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ы</a:t>
            </a:r>
            <a:r>
              <a:rPr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р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н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рских</a:t>
            </a:r>
            <a:r>
              <a:rPr sz="1900" spc="4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900"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900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900" spc="-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рок</a:t>
            </a:r>
            <a:endParaRPr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object 39">
            <a:extLst>
              <a:ext uri="{FF2B5EF4-FFF2-40B4-BE49-F238E27FC236}">
                <a16:creationId xmlns:a16="http://schemas.microsoft.com/office/drawing/2014/main" id="{D91EB9DA-D9A0-4312-922A-19FFBCD9457B}"/>
              </a:ext>
            </a:extLst>
          </p:cNvPr>
          <p:cNvSpPr/>
          <p:nvPr/>
        </p:nvSpPr>
        <p:spPr>
          <a:xfrm>
            <a:off x="615408" y="4082898"/>
            <a:ext cx="314325" cy="314325"/>
          </a:xfrm>
          <a:custGeom>
            <a:avLst/>
            <a:gdLst/>
            <a:ahLst/>
            <a:cxnLst/>
            <a:rect l="l" t="t" r="r" b="b"/>
            <a:pathLst>
              <a:path w="314325" h="314325">
                <a:moveTo>
                  <a:pt x="0" y="157225"/>
                </a:moveTo>
                <a:lnTo>
                  <a:pt x="5928" y="114288"/>
                </a:lnTo>
                <a:lnTo>
                  <a:pt x="22628" y="75886"/>
                </a:lnTo>
                <a:lnTo>
                  <a:pt x="48471" y="43647"/>
                </a:lnTo>
                <a:lnTo>
                  <a:pt x="81828" y="19197"/>
                </a:lnTo>
                <a:lnTo>
                  <a:pt x="121071" y="4163"/>
                </a:lnTo>
                <a:lnTo>
                  <a:pt x="157162" y="0"/>
                </a:lnTo>
                <a:lnTo>
                  <a:pt x="171866" y="678"/>
                </a:lnTo>
                <a:lnTo>
                  <a:pt x="186188" y="2675"/>
                </a:lnTo>
                <a:lnTo>
                  <a:pt x="226259" y="15966"/>
                </a:lnTo>
                <a:lnTo>
                  <a:pt x="260721" y="38947"/>
                </a:lnTo>
                <a:lnTo>
                  <a:pt x="287943" y="69990"/>
                </a:lnTo>
                <a:lnTo>
                  <a:pt x="306296" y="107469"/>
                </a:lnTo>
                <a:lnTo>
                  <a:pt x="314150" y="149758"/>
                </a:lnTo>
                <a:lnTo>
                  <a:pt x="314325" y="157225"/>
                </a:lnTo>
                <a:lnTo>
                  <a:pt x="313645" y="171927"/>
                </a:lnTo>
                <a:lnTo>
                  <a:pt x="311647" y="186247"/>
                </a:lnTo>
                <a:lnTo>
                  <a:pt x="298345" y="226313"/>
                </a:lnTo>
                <a:lnTo>
                  <a:pt x="275349" y="260770"/>
                </a:lnTo>
                <a:lnTo>
                  <a:pt x="244293" y="287983"/>
                </a:lnTo>
                <a:lnTo>
                  <a:pt x="206807" y="306323"/>
                </a:lnTo>
                <a:lnTo>
                  <a:pt x="164522" y="314155"/>
                </a:lnTo>
                <a:lnTo>
                  <a:pt x="157162" y="314325"/>
                </a:lnTo>
                <a:lnTo>
                  <a:pt x="142450" y="313645"/>
                </a:lnTo>
                <a:lnTo>
                  <a:pt x="128121" y="311647"/>
                </a:lnTo>
                <a:lnTo>
                  <a:pt x="88034" y="298348"/>
                </a:lnTo>
                <a:lnTo>
                  <a:pt x="53565" y="275360"/>
                </a:lnTo>
                <a:lnTo>
                  <a:pt x="26344" y="244314"/>
                </a:lnTo>
                <a:lnTo>
                  <a:pt x="8002" y="206844"/>
                </a:lnTo>
                <a:lnTo>
                  <a:pt x="169" y="164581"/>
                </a:lnTo>
                <a:lnTo>
                  <a:pt x="0" y="157225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object 8">
            <a:extLst>
              <a:ext uri="{FF2B5EF4-FFF2-40B4-BE49-F238E27FC236}">
                <a16:creationId xmlns:a16="http://schemas.microsoft.com/office/drawing/2014/main" id="{AB341962-30C8-4AE3-B209-5941C08DDFC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092200" y="204239"/>
            <a:ext cx="6959600" cy="461665"/>
          </a:xfrm>
          <a:prstGeom prst="rect">
            <a:avLst/>
          </a:prstGeom>
        </p:spPr>
        <p:txBody>
          <a:bodyPr vert="horz" wrap="square" lIns="0" tIns="152400" rIns="0" bIns="0" rtlCol="0">
            <a:spAutoFit/>
          </a:bodyPr>
          <a:lstStyle/>
          <a:p>
            <a:pPr marL="9525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3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я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782673"/>
              </p:ext>
            </p:extLst>
          </p:nvPr>
        </p:nvGraphicFramePr>
        <p:xfrm>
          <a:off x="177927" y="1051115"/>
          <a:ext cx="8204074" cy="43571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70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79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437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37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1861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ровень образца лучшей практики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2000" b="1" i="1" dirty="0"/>
                        <a:t>Проверяемые направления</a:t>
                      </a:r>
                      <a:endParaRPr sz="2000" b="1" i="1"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847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0800" marR="42545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ru-RU" sz="20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Управление проектами улучшений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9220" marR="100965" algn="ctr">
                        <a:lnSpc>
                          <a:spcPct val="100000"/>
                        </a:lnSpc>
                      </a:pPr>
                      <a:r>
                        <a:rPr lang="ru-RU" sz="2000" b="1" spc="-4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Вовлечение, обучение, мотивация персонала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1605" algn="ctr">
                        <a:lnSpc>
                          <a:spcPct val="100000"/>
                        </a:lnSpc>
                      </a:pPr>
                      <a:r>
                        <a:rPr lang="ru-RU" sz="2000" b="1" spc="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Готовность к тиражи-</a:t>
                      </a:r>
                      <a:r>
                        <a:rPr lang="ru-RU" sz="2000" b="1" spc="5" dirty="0" err="1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рованию</a:t>
                      </a:r>
                      <a:endParaRPr sz="20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3882">
                <a:tc>
                  <a:txBody>
                    <a:bodyPr/>
                    <a:lstStyle/>
                    <a:p>
                      <a:pPr marL="250825" algn="ctr">
                        <a:lnSpc>
                          <a:spcPct val="100000"/>
                        </a:lnSpc>
                      </a:pPr>
                      <a:r>
                        <a:rPr lang="ru-RU" sz="1800" b="1" spc="-5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Мест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опросы с литерой М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529590" marR="73025" indent="-449580" algn="ctr">
                        <a:lnSpc>
                          <a:spcPct val="100000"/>
                        </a:lnSpc>
                      </a:pPr>
                      <a:r>
                        <a:rPr lang="ru-RU" sz="18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Региональ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опросы с литерами М и Р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06450">
                <a:tc>
                  <a:txBody>
                    <a:bodyPr/>
                    <a:lstStyle/>
                    <a:p>
                      <a:pPr marL="231140" marR="95250" indent="-131445" algn="ctr">
                        <a:lnSpc>
                          <a:spcPct val="100000"/>
                        </a:lnSpc>
                      </a:pPr>
                      <a:r>
                        <a:rPr lang="ru-RU" sz="1800" b="1" dirty="0">
                          <a:solidFill>
                            <a:srgbClr val="1F1F20"/>
                          </a:solidFill>
                          <a:latin typeface="Arial"/>
                          <a:cs typeface="Arial"/>
                        </a:rPr>
                        <a:t>Федеральный</a:t>
                      </a:r>
                      <a:endParaRPr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L w="3175">
                      <a:solidFill>
                        <a:srgbClr val="414142"/>
                      </a:solidFill>
                      <a:prstDash val="soli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>
                      <a:solidFill>
                        <a:srgbClr val="414142"/>
                      </a:solidFill>
                      <a:prstDash val="soli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latin typeface="Arial"/>
                          <a:cs typeface="Arial"/>
                        </a:rPr>
                        <a:t>Все вопросы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54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>
                      <a:solidFill>
                        <a:srgbClr val="414142"/>
                      </a:solidFill>
                      <a:prstDash val="solid"/>
                    </a:lnR>
                    <a:lnT w="3175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>
                      <a:solidFill>
                        <a:srgbClr val="414142"/>
                      </a:solidFill>
                      <a:prstDash val="soli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object 8">
            <a:extLst>
              <a:ext uri="{FF2B5EF4-FFF2-40B4-BE49-F238E27FC236}">
                <a16:creationId xmlns:a16="http://schemas.microsoft.com/office/drawing/2014/main" id="{072FF143-5987-4293-BD55-6EACE94EBBD9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28800" y="204239"/>
            <a:ext cx="6223000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spc="-3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</a:t>
            </a:r>
            <a:r>
              <a:rPr spc="-6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го</a:t>
            </a:r>
            <a:r>
              <a:rPr spc="-4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вки</a:t>
            </a:r>
          </a:p>
          <a:p>
            <a:pPr marL="12700">
              <a:lnSpc>
                <a:spcPct val="100000"/>
              </a:lnSpc>
            </a:pP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pc="-25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</a:t>
            </a:r>
            <a:r>
              <a:rPr spc="5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spc="-3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dirty="0"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19187" y="1093724"/>
            <a:ext cx="3719829" cy="76200"/>
          </a:xfrm>
          <a:custGeom>
            <a:avLst/>
            <a:gdLst/>
            <a:ahLst/>
            <a:cxnLst/>
            <a:rect l="l" t="t" r="r" b="b"/>
            <a:pathLst>
              <a:path w="37198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719829" h="76200">
                <a:moveTo>
                  <a:pt x="3681666" y="0"/>
                </a:moveTo>
                <a:lnTo>
                  <a:pt x="3643566" y="38100"/>
                </a:lnTo>
                <a:lnTo>
                  <a:pt x="3681666" y="76200"/>
                </a:lnTo>
                <a:lnTo>
                  <a:pt x="3710241" y="47625"/>
                </a:lnTo>
                <a:lnTo>
                  <a:pt x="3681666" y="47625"/>
                </a:lnTo>
                <a:lnTo>
                  <a:pt x="3681666" y="28575"/>
                </a:lnTo>
                <a:lnTo>
                  <a:pt x="3710241" y="28575"/>
                </a:lnTo>
                <a:lnTo>
                  <a:pt x="3681666" y="0"/>
                </a:lnTo>
                <a:close/>
              </a:path>
              <a:path w="37198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719829" h="76200">
                <a:moveTo>
                  <a:pt x="3653091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653091" y="47625"/>
                </a:lnTo>
                <a:lnTo>
                  <a:pt x="3643566" y="38100"/>
                </a:lnTo>
                <a:lnTo>
                  <a:pt x="3653091" y="28575"/>
                </a:lnTo>
                <a:close/>
              </a:path>
              <a:path w="3719829" h="76200">
                <a:moveTo>
                  <a:pt x="3710241" y="28575"/>
                </a:moveTo>
                <a:lnTo>
                  <a:pt x="3681666" y="28575"/>
                </a:lnTo>
                <a:lnTo>
                  <a:pt x="3681666" y="47625"/>
                </a:lnTo>
                <a:lnTo>
                  <a:pt x="3710241" y="47625"/>
                </a:lnTo>
                <a:lnTo>
                  <a:pt x="3719766" y="38100"/>
                </a:lnTo>
                <a:lnTo>
                  <a:pt x="3710241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86401" y="1093724"/>
            <a:ext cx="3846195" cy="76200"/>
          </a:xfrm>
          <a:custGeom>
            <a:avLst/>
            <a:gdLst/>
            <a:ahLst/>
            <a:cxnLst/>
            <a:rect l="l" t="t" r="r" b="b"/>
            <a:pathLst>
              <a:path w="3846195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46195" h="76200">
                <a:moveTo>
                  <a:pt x="3807714" y="0"/>
                </a:moveTo>
                <a:lnTo>
                  <a:pt x="3769614" y="38100"/>
                </a:lnTo>
                <a:lnTo>
                  <a:pt x="3807714" y="76200"/>
                </a:lnTo>
                <a:lnTo>
                  <a:pt x="3836289" y="47625"/>
                </a:lnTo>
                <a:lnTo>
                  <a:pt x="3807714" y="47625"/>
                </a:lnTo>
                <a:lnTo>
                  <a:pt x="3807714" y="28575"/>
                </a:lnTo>
                <a:lnTo>
                  <a:pt x="3836289" y="28575"/>
                </a:lnTo>
                <a:lnTo>
                  <a:pt x="3807714" y="0"/>
                </a:lnTo>
                <a:close/>
              </a:path>
              <a:path w="3846195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46195" h="76200">
                <a:moveTo>
                  <a:pt x="3779139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79139" y="47625"/>
                </a:lnTo>
                <a:lnTo>
                  <a:pt x="3769614" y="38100"/>
                </a:lnTo>
                <a:lnTo>
                  <a:pt x="3779139" y="28575"/>
                </a:lnTo>
                <a:close/>
              </a:path>
              <a:path w="3846195" h="76200">
                <a:moveTo>
                  <a:pt x="3836289" y="28575"/>
                </a:moveTo>
                <a:lnTo>
                  <a:pt x="3807714" y="28575"/>
                </a:lnTo>
                <a:lnTo>
                  <a:pt x="3807714" y="47625"/>
                </a:lnTo>
                <a:lnTo>
                  <a:pt x="3836289" y="47625"/>
                </a:lnTo>
                <a:lnTo>
                  <a:pt x="3845814" y="38100"/>
                </a:lnTo>
                <a:lnTo>
                  <a:pt x="3836289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263775" y="1006436"/>
            <a:ext cx="972185" cy="249554"/>
          </a:xfrm>
          <a:custGeom>
            <a:avLst/>
            <a:gdLst/>
            <a:ahLst/>
            <a:cxnLst/>
            <a:rect l="l" t="t" r="r" b="b"/>
            <a:pathLst>
              <a:path w="972185" h="249555">
                <a:moveTo>
                  <a:pt x="0" y="249339"/>
                </a:moveTo>
                <a:lnTo>
                  <a:pt x="971994" y="249339"/>
                </a:lnTo>
                <a:lnTo>
                  <a:pt x="971994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380226" y="1006449"/>
            <a:ext cx="1032510" cy="246379"/>
          </a:xfrm>
          <a:custGeom>
            <a:avLst/>
            <a:gdLst/>
            <a:ahLst/>
            <a:cxnLst/>
            <a:rect l="l" t="t" r="r" b="b"/>
            <a:pathLst>
              <a:path w="1032509" h="246380">
                <a:moveTo>
                  <a:pt x="0" y="246151"/>
                </a:moveTo>
                <a:lnTo>
                  <a:pt x="1032370" y="246151"/>
                </a:lnTo>
                <a:lnTo>
                  <a:pt x="1032370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107949" y="0"/>
                </a:moveTo>
                <a:lnTo>
                  <a:pt x="65699" y="8576"/>
                </a:lnTo>
                <a:lnTo>
                  <a:pt x="31489" y="31740"/>
                </a:lnTo>
                <a:lnTo>
                  <a:pt x="8444" y="66021"/>
                </a:lnTo>
                <a:lnTo>
                  <a:pt x="19" y="107640"/>
                </a:lnTo>
                <a:lnTo>
                  <a:pt x="0" y="108365"/>
                </a:lnTo>
                <a:lnTo>
                  <a:pt x="1033" y="122982"/>
                </a:lnTo>
                <a:lnTo>
                  <a:pt x="14852" y="162721"/>
                </a:lnTo>
                <a:lnTo>
                  <a:pt x="42080" y="193606"/>
                </a:lnTo>
                <a:lnTo>
                  <a:pt x="79290" y="212183"/>
                </a:lnTo>
                <a:lnTo>
                  <a:pt x="107949" y="216026"/>
                </a:lnTo>
                <a:lnTo>
                  <a:pt x="108364" y="216026"/>
                </a:lnTo>
                <a:lnTo>
                  <a:pt x="150267" y="207419"/>
                </a:lnTo>
                <a:lnTo>
                  <a:pt x="184443" y="184236"/>
                </a:lnTo>
                <a:lnTo>
                  <a:pt x="207463" y="149928"/>
                </a:lnTo>
                <a:lnTo>
                  <a:pt x="215871" y="108365"/>
                </a:lnTo>
                <a:lnTo>
                  <a:pt x="215898" y="107640"/>
                </a:lnTo>
                <a:lnTo>
                  <a:pt x="214877" y="93040"/>
                </a:lnTo>
                <a:lnTo>
                  <a:pt x="201079" y="53324"/>
                </a:lnTo>
                <a:lnTo>
                  <a:pt x="173849" y="22436"/>
                </a:lnTo>
                <a:lnTo>
                  <a:pt x="136623" y="3846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135251" y="1022350"/>
            <a:ext cx="215900" cy="216535"/>
          </a:xfrm>
          <a:custGeom>
            <a:avLst/>
            <a:gdLst/>
            <a:ahLst/>
            <a:cxnLst/>
            <a:rect l="l" t="t" r="r" b="b"/>
            <a:pathLst>
              <a:path w="215900" h="216534">
                <a:moveTo>
                  <a:pt x="0" y="107950"/>
                </a:moveTo>
                <a:lnTo>
                  <a:pt x="8444" y="66021"/>
                </a:lnTo>
                <a:lnTo>
                  <a:pt x="31489" y="31740"/>
                </a:lnTo>
                <a:lnTo>
                  <a:pt x="65699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8" y="983"/>
                </a:lnTo>
                <a:lnTo>
                  <a:pt x="136624" y="3846"/>
                </a:lnTo>
                <a:lnTo>
                  <a:pt x="173850" y="22436"/>
                </a:lnTo>
                <a:lnTo>
                  <a:pt x="201080" y="53324"/>
                </a:lnTo>
                <a:lnTo>
                  <a:pt x="214878" y="93040"/>
                </a:lnTo>
                <a:lnTo>
                  <a:pt x="215900" y="107950"/>
                </a:lnTo>
                <a:lnTo>
                  <a:pt x="214920" y="122582"/>
                </a:lnTo>
                <a:lnTo>
                  <a:pt x="212066" y="136617"/>
                </a:lnTo>
                <a:lnTo>
                  <a:pt x="193526" y="173865"/>
                </a:lnTo>
                <a:lnTo>
                  <a:pt x="162688" y="201140"/>
                </a:lnTo>
                <a:lnTo>
                  <a:pt x="122979" y="214990"/>
                </a:lnTo>
                <a:lnTo>
                  <a:pt x="107950" y="216026"/>
                </a:lnTo>
                <a:lnTo>
                  <a:pt x="93320" y="215044"/>
                </a:lnTo>
                <a:lnTo>
                  <a:pt x="79291" y="212183"/>
                </a:lnTo>
                <a:lnTo>
                  <a:pt x="42081" y="193606"/>
                </a:lnTo>
                <a:lnTo>
                  <a:pt x="14853" y="162721"/>
                </a:lnTo>
                <a:lnTo>
                  <a:pt x="1034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95829" y="1060694"/>
            <a:ext cx="93218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 </a:t>
            </a:r>
            <a:r>
              <a:rPr sz="1000" b="1" spc="-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</a:t>
            </a:r>
            <a:r>
              <a:rPr sz="1000" b="1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ка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107949" y="0"/>
                </a:moveTo>
                <a:lnTo>
                  <a:pt x="65752" y="8576"/>
                </a:lnTo>
                <a:lnTo>
                  <a:pt x="31536" y="31740"/>
                </a:lnTo>
                <a:lnTo>
                  <a:pt x="8461" y="66021"/>
                </a:lnTo>
                <a:lnTo>
                  <a:pt x="27" y="107535"/>
                </a:lnTo>
                <a:lnTo>
                  <a:pt x="0" y="108365"/>
                </a:lnTo>
                <a:lnTo>
                  <a:pt x="1036" y="122982"/>
                </a:lnTo>
                <a:lnTo>
                  <a:pt x="14880" y="162721"/>
                </a:lnTo>
                <a:lnTo>
                  <a:pt x="42135" y="193606"/>
                </a:lnTo>
                <a:lnTo>
                  <a:pt x="79334" y="212183"/>
                </a:lnTo>
                <a:lnTo>
                  <a:pt x="107949" y="216026"/>
                </a:lnTo>
                <a:lnTo>
                  <a:pt x="108469" y="216025"/>
                </a:lnTo>
                <a:lnTo>
                  <a:pt x="150355" y="207390"/>
                </a:lnTo>
                <a:lnTo>
                  <a:pt x="184541" y="184201"/>
                </a:lnTo>
                <a:lnTo>
                  <a:pt x="207580" y="149906"/>
                </a:lnTo>
                <a:lnTo>
                  <a:pt x="215998" y="108365"/>
                </a:lnTo>
                <a:lnTo>
                  <a:pt x="216025" y="107535"/>
                </a:lnTo>
                <a:lnTo>
                  <a:pt x="214989" y="92947"/>
                </a:lnTo>
                <a:lnTo>
                  <a:pt x="201139" y="53268"/>
                </a:lnTo>
                <a:lnTo>
                  <a:pt x="173865" y="22411"/>
                </a:lnTo>
                <a:lnTo>
                  <a:pt x="136616" y="3842"/>
                </a:lnTo>
                <a:lnTo>
                  <a:pt x="107949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6223000" y="1022350"/>
            <a:ext cx="216535" cy="216535"/>
          </a:xfrm>
          <a:custGeom>
            <a:avLst/>
            <a:gdLst/>
            <a:ahLst/>
            <a:cxnLst/>
            <a:rect l="l" t="t" r="r" b="b"/>
            <a:pathLst>
              <a:path w="216535" h="216534">
                <a:moveTo>
                  <a:pt x="0" y="107950"/>
                </a:moveTo>
                <a:lnTo>
                  <a:pt x="8462" y="66021"/>
                </a:lnTo>
                <a:lnTo>
                  <a:pt x="31537" y="31740"/>
                </a:lnTo>
                <a:lnTo>
                  <a:pt x="65753" y="8576"/>
                </a:lnTo>
                <a:lnTo>
                  <a:pt x="107640" y="0"/>
                </a:lnTo>
                <a:lnTo>
                  <a:pt x="107950" y="0"/>
                </a:lnTo>
                <a:lnTo>
                  <a:pt x="122582" y="982"/>
                </a:lnTo>
                <a:lnTo>
                  <a:pt x="136617" y="3842"/>
                </a:lnTo>
                <a:lnTo>
                  <a:pt x="173865" y="22411"/>
                </a:lnTo>
                <a:lnTo>
                  <a:pt x="201140" y="53268"/>
                </a:lnTo>
                <a:lnTo>
                  <a:pt x="214990" y="92947"/>
                </a:lnTo>
                <a:lnTo>
                  <a:pt x="216026" y="107950"/>
                </a:lnTo>
                <a:lnTo>
                  <a:pt x="215046" y="122573"/>
                </a:lnTo>
                <a:lnTo>
                  <a:pt x="212188" y="136601"/>
                </a:lnTo>
                <a:lnTo>
                  <a:pt x="193630" y="173833"/>
                </a:lnTo>
                <a:lnTo>
                  <a:pt x="162777" y="201107"/>
                </a:lnTo>
                <a:lnTo>
                  <a:pt x="123074" y="214977"/>
                </a:lnTo>
                <a:lnTo>
                  <a:pt x="107950" y="216026"/>
                </a:lnTo>
                <a:lnTo>
                  <a:pt x="93346" y="215044"/>
                </a:lnTo>
                <a:lnTo>
                  <a:pt x="79335" y="212183"/>
                </a:lnTo>
                <a:lnTo>
                  <a:pt x="42135" y="193606"/>
                </a:lnTo>
                <a:lnTo>
                  <a:pt x="14881" y="162721"/>
                </a:lnTo>
                <a:lnTo>
                  <a:pt x="1036" y="122982"/>
                </a:lnTo>
                <a:lnTo>
                  <a:pt x="0" y="10795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284467" y="1060694"/>
            <a:ext cx="1035050" cy="1543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 </a:t>
            </a:r>
            <a:r>
              <a:rPr sz="1000" b="1" spc="1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</a:t>
            </a:r>
            <a:r>
              <a:rPr sz="10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1787588" y="0"/>
                </a:moveTo>
                <a:lnTo>
                  <a:pt x="0" y="0"/>
                </a:lnTo>
                <a:lnTo>
                  <a:pt x="0" y="1136650"/>
                </a:lnTo>
                <a:lnTo>
                  <a:pt x="1787588" y="1136650"/>
                </a:lnTo>
                <a:lnTo>
                  <a:pt x="1995487" y="568325"/>
                </a:lnTo>
                <a:lnTo>
                  <a:pt x="178758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57287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5" h="1136650">
                <a:moveTo>
                  <a:pt x="0" y="0"/>
                </a:moveTo>
                <a:lnTo>
                  <a:pt x="1787588" y="0"/>
                </a:lnTo>
                <a:lnTo>
                  <a:pt x="1995487" y="568325"/>
                </a:lnTo>
                <a:lnTo>
                  <a:pt x="1787588" y="1136650"/>
                </a:lnTo>
                <a:lnTo>
                  <a:pt x="0" y="1136650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282446" y="1288151"/>
            <a:ext cx="1333500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к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ени соответствия образца требованиям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285408" y="1904482"/>
            <a:ext cx="143014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организации (далее ГД)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9049" y="0"/>
                </a:moveTo>
                <a:lnTo>
                  <a:pt x="0" y="0"/>
                </a:lnTo>
                <a:lnTo>
                  <a:pt x="206248" y="568325"/>
                </a:lnTo>
                <a:lnTo>
                  <a:pt x="0" y="1136650"/>
                </a:lnTo>
                <a:lnTo>
                  <a:pt x="1789049" y="1136650"/>
                </a:lnTo>
                <a:lnTo>
                  <a:pt x="1995424" y="568325"/>
                </a:lnTo>
                <a:lnTo>
                  <a:pt x="178904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008376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9049" y="0"/>
                </a:lnTo>
                <a:lnTo>
                  <a:pt x="1995424" y="568325"/>
                </a:lnTo>
                <a:lnTo>
                  <a:pt x="1789049" y="1136650"/>
                </a:lnTo>
                <a:lnTo>
                  <a:pt x="0" y="1136650"/>
                </a:lnTo>
                <a:lnTo>
                  <a:pt x="206248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341878" y="1440551"/>
            <a:ext cx="12096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341878" y="1897758"/>
            <a:ext cx="136652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П региона,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02450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356605" y="1363970"/>
            <a:ext cx="120967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а подготовки 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 очно или дистанционн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56605" y="21263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1787525" y="0"/>
                </a:moveTo>
                <a:lnTo>
                  <a:pt x="0" y="0"/>
                </a:lnTo>
                <a:lnTo>
                  <a:pt x="207899" y="568325"/>
                </a:lnTo>
                <a:lnTo>
                  <a:pt x="0" y="1136650"/>
                </a:lnTo>
                <a:lnTo>
                  <a:pt x="1787525" y="1136650"/>
                </a:lnTo>
                <a:lnTo>
                  <a:pt x="1995424" y="568325"/>
                </a:lnTo>
                <a:lnTo>
                  <a:pt x="178752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6897751" y="1244600"/>
            <a:ext cx="1995805" cy="1136650"/>
          </a:xfrm>
          <a:custGeom>
            <a:avLst/>
            <a:gdLst/>
            <a:ahLst/>
            <a:cxnLst/>
            <a:rect l="l" t="t" r="r" b="b"/>
            <a:pathLst>
              <a:path w="1995804" h="1136650">
                <a:moveTo>
                  <a:pt x="0" y="0"/>
                </a:moveTo>
                <a:lnTo>
                  <a:pt x="1787525" y="0"/>
                </a:lnTo>
                <a:lnTo>
                  <a:pt x="1995424" y="568325"/>
                </a:lnTo>
                <a:lnTo>
                  <a:pt x="1787525" y="1136650"/>
                </a:lnTo>
                <a:lnTo>
                  <a:pt x="0" y="1136650"/>
                </a:lnTo>
                <a:lnTo>
                  <a:pt x="207899" y="568325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414142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230236" y="1363970"/>
            <a:ext cx="132016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а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230236" y="1821551"/>
            <a:ext cx="117157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.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2970148" y="2527300"/>
            <a:ext cx="1868170" cy="76200"/>
          </a:xfrm>
          <a:custGeom>
            <a:avLst/>
            <a:gdLst/>
            <a:ahLst/>
            <a:cxnLst/>
            <a:rect l="l" t="t" r="r" b="b"/>
            <a:pathLst>
              <a:path w="18681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68170" h="76200">
                <a:moveTo>
                  <a:pt x="1829562" y="0"/>
                </a:moveTo>
                <a:lnTo>
                  <a:pt x="1791462" y="38100"/>
                </a:lnTo>
                <a:lnTo>
                  <a:pt x="1829562" y="76200"/>
                </a:lnTo>
                <a:lnTo>
                  <a:pt x="1858137" y="47625"/>
                </a:lnTo>
                <a:lnTo>
                  <a:pt x="1829562" y="47625"/>
                </a:lnTo>
                <a:lnTo>
                  <a:pt x="1829562" y="28575"/>
                </a:lnTo>
                <a:lnTo>
                  <a:pt x="1858137" y="28575"/>
                </a:lnTo>
                <a:lnTo>
                  <a:pt x="1829562" y="0"/>
                </a:lnTo>
                <a:close/>
              </a:path>
              <a:path w="18681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68170" h="76200">
                <a:moveTo>
                  <a:pt x="1800987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800987" y="47625"/>
                </a:lnTo>
                <a:lnTo>
                  <a:pt x="1791462" y="38100"/>
                </a:lnTo>
                <a:lnTo>
                  <a:pt x="1800987" y="28575"/>
                </a:lnTo>
                <a:close/>
              </a:path>
              <a:path w="1868170" h="76200">
                <a:moveTo>
                  <a:pt x="1858137" y="28575"/>
                </a:moveTo>
                <a:lnTo>
                  <a:pt x="1829562" y="28575"/>
                </a:lnTo>
                <a:lnTo>
                  <a:pt x="1829562" y="47625"/>
                </a:lnTo>
                <a:lnTo>
                  <a:pt x="1858137" y="47625"/>
                </a:lnTo>
                <a:lnTo>
                  <a:pt x="1867662" y="38100"/>
                </a:lnTo>
                <a:lnTo>
                  <a:pt x="1858137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023611" y="2527300"/>
            <a:ext cx="3808729" cy="76200"/>
          </a:xfrm>
          <a:custGeom>
            <a:avLst/>
            <a:gdLst/>
            <a:ahLst/>
            <a:cxnLst/>
            <a:rect l="l" t="t" r="r" b="b"/>
            <a:pathLst>
              <a:path w="3808729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3808729" h="76200">
                <a:moveTo>
                  <a:pt x="3770503" y="0"/>
                </a:moveTo>
                <a:lnTo>
                  <a:pt x="3732403" y="38100"/>
                </a:lnTo>
                <a:lnTo>
                  <a:pt x="3770503" y="76200"/>
                </a:lnTo>
                <a:lnTo>
                  <a:pt x="3799078" y="47625"/>
                </a:lnTo>
                <a:lnTo>
                  <a:pt x="3770503" y="47625"/>
                </a:lnTo>
                <a:lnTo>
                  <a:pt x="3770503" y="28575"/>
                </a:lnTo>
                <a:lnTo>
                  <a:pt x="3799078" y="28575"/>
                </a:lnTo>
                <a:lnTo>
                  <a:pt x="3770503" y="0"/>
                </a:lnTo>
                <a:close/>
              </a:path>
              <a:path w="3808729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3808729" h="76200">
                <a:moveTo>
                  <a:pt x="3741928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3741928" y="47625"/>
                </a:lnTo>
                <a:lnTo>
                  <a:pt x="3732403" y="38100"/>
                </a:lnTo>
                <a:lnTo>
                  <a:pt x="3741928" y="28575"/>
                </a:lnTo>
                <a:close/>
              </a:path>
              <a:path w="3808729" h="76200">
                <a:moveTo>
                  <a:pt x="3799078" y="28575"/>
                </a:moveTo>
                <a:lnTo>
                  <a:pt x="3770503" y="28575"/>
                </a:lnTo>
                <a:lnTo>
                  <a:pt x="3770503" y="47625"/>
                </a:lnTo>
                <a:lnTo>
                  <a:pt x="3799078" y="47625"/>
                </a:lnTo>
                <a:lnTo>
                  <a:pt x="3808603" y="38100"/>
                </a:lnTo>
                <a:lnTo>
                  <a:pt x="3799078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6223000" y="2443200"/>
            <a:ext cx="1301750" cy="246379"/>
          </a:xfrm>
          <a:custGeom>
            <a:avLst/>
            <a:gdLst/>
            <a:ahLst/>
            <a:cxnLst/>
            <a:rect l="l" t="t" r="r" b="b"/>
            <a:pathLst>
              <a:path w="1301750" h="246380">
                <a:moveTo>
                  <a:pt x="0" y="246151"/>
                </a:moveTo>
                <a:lnTo>
                  <a:pt x="1301369" y="246151"/>
                </a:lnTo>
                <a:lnTo>
                  <a:pt x="1301369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6331267" y="2485175"/>
            <a:ext cx="152400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 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</a:t>
            </a:r>
            <a:r>
              <a:rPr sz="1000" b="1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</a:t>
            </a:r>
            <a:r>
              <a:rPr lang="ru-RU" sz="1000" b="1" spc="-1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го</a:t>
            </a:r>
            <a:r>
              <a:rPr sz="1000" b="1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</a:t>
            </a:r>
            <a:r>
              <a:rPr lang="ru-RU" sz="1000" b="1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150937" y="2527300"/>
            <a:ext cx="1804670" cy="76200"/>
          </a:xfrm>
          <a:custGeom>
            <a:avLst/>
            <a:gdLst/>
            <a:ahLst/>
            <a:cxnLst/>
            <a:rect l="l" t="t" r="r" b="b"/>
            <a:pathLst>
              <a:path w="1804670" h="76200">
                <a:moveTo>
                  <a:pt x="38100" y="0"/>
                </a:moveTo>
                <a:lnTo>
                  <a:pt x="0" y="38100"/>
                </a:lnTo>
                <a:lnTo>
                  <a:pt x="38100" y="76200"/>
                </a:lnTo>
                <a:lnTo>
                  <a:pt x="66675" y="47625"/>
                </a:lnTo>
                <a:lnTo>
                  <a:pt x="38100" y="47625"/>
                </a:lnTo>
                <a:lnTo>
                  <a:pt x="38100" y="28575"/>
                </a:lnTo>
                <a:lnTo>
                  <a:pt x="66675" y="28575"/>
                </a:lnTo>
                <a:lnTo>
                  <a:pt x="38100" y="0"/>
                </a:lnTo>
                <a:close/>
              </a:path>
              <a:path w="1804670" h="76200">
                <a:moveTo>
                  <a:pt x="1766125" y="0"/>
                </a:moveTo>
                <a:lnTo>
                  <a:pt x="1728025" y="38100"/>
                </a:lnTo>
                <a:lnTo>
                  <a:pt x="1766125" y="76200"/>
                </a:lnTo>
                <a:lnTo>
                  <a:pt x="1794700" y="47625"/>
                </a:lnTo>
                <a:lnTo>
                  <a:pt x="1766125" y="47625"/>
                </a:lnTo>
                <a:lnTo>
                  <a:pt x="1766125" y="28575"/>
                </a:lnTo>
                <a:lnTo>
                  <a:pt x="1794700" y="28575"/>
                </a:lnTo>
                <a:lnTo>
                  <a:pt x="1766125" y="0"/>
                </a:lnTo>
                <a:close/>
              </a:path>
              <a:path w="1804670" h="76200">
                <a:moveTo>
                  <a:pt x="66675" y="28575"/>
                </a:moveTo>
                <a:lnTo>
                  <a:pt x="38100" y="28575"/>
                </a:lnTo>
                <a:lnTo>
                  <a:pt x="38100" y="47625"/>
                </a:lnTo>
                <a:lnTo>
                  <a:pt x="66675" y="47625"/>
                </a:lnTo>
                <a:lnTo>
                  <a:pt x="76200" y="38100"/>
                </a:lnTo>
                <a:lnTo>
                  <a:pt x="66675" y="28575"/>
                </a:lnTo>
                <a:close/>
              </a:path>
              <a:path w="1804670" h="76200">
                <a:moveTo>
                  <a:pt x="1737550" y="28575"/>
                </a:moveTo>
                <a:lnTo>
                  <a:pt x="66675" y="28575"/>
                </a:lnTo>
                <a:lnTo>
                  <a:pt x="76200" y="38100"/>
                </a:lnTo>
                <a:lnTo>
                  <a:pt x="66675" y="47625"/>
                </a:lnTo>
                <a:lnTo>
                  <a:pt x="1737550" y="47625"/>
                </a:lnTo>
                <a:lnTo>
                  <a:pt x="1728025" y="38100"/>
                </a:lnTo>
                <a:lnTo>
                  <a:pt x="1737550" y="28575"/>
                </a:lnTo>
                <a:close/>
              </a:path>
              <a:path w="1804670" h="76200">
                <a:moveTo>
                  <a:pt x="1794700" y="28575"/>
                </a:moveTo>
                <a:lnTo>
                  <a:pt x="1766125" y="28575"/>
                </a:lnTo>
                <a:lnTo>
                  <a:pt x="1766125" y="47625"/>
                </a:lnTo>
                <a:lnTo>
                  <a:pt x="1794700" y="47625"/>
                </a:lnTo>
                <a:lnTo>
                  <a:pt x="1804225" y="38100"/>
                </a:lnTo>
                <a:lnTo>
                  <a:pt x="1794700" y="28575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438275" y="2440025"/>
            <a:ext cx="1296670" cy="246379"/>
          </a:xfrm>
          <a:custGeom>
            <a:avLst/>
            <a:gdLst/>
            <a:ahLst/>
            <a:cxnLst/>
            <a:rect l="l" t="t" r="r" b="b"/>
            <a:pathLst>
              <a:path w="1296670" h="246380">
                <a:moveTo>
                  <a:pt x="0" y="246151"/>
                </a:moveTo>
                <a:lnTo>
                  <a:pt x="1296162" y="246151"/>
                </a:lnTo>
                <a:lnTo>
                  <a:pt x="1296162" y="0"/>
                </a:lnTo>
                <a:lnTo>
                  <a:pt x="0" y="0"/>
                </a:lnTo>
                <a:lnTo>
                  <a:pt x="0" y="2461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520444" y="2494524"/>
            <a:ext cx="113093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зже </a:t>
            </a:r>
            <a:r>
              <a:rPr sz="10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281426" y="2440012"/>
            <a:ext cx="1296670" cy="249554"/>
          </a:xfrm>
          <a:custGeom>
            <a:avLst/>
            <a:gdLst/>
            <a:ahLst/>
            <a:cxnLst/>
            <a:rect l="l" t="t" r="r" b="b"/>
            <a:pathLst>
              <a:path w="1296670" h="249555">
                <a:moveTo>
                  <a:pt x="0" y="249339"/>
                </a:moveTo>
                <a:lnTo>
                  <a:pt x="1296162" y="249339"/>
                </a:lnTo>
                <a:lnTo>
                  <a:pt x="1296162" y="0"/>
                </a:lnTo>
                <a:lnTo>
                  <a:pt x="0" y="0"/>
                </a:lnTo>
                <a:lnTo>
                  <a:pt x="0" y="249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379089" y="2494524"/>
            <a:ext cx="110045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</a:t>
            </a:r>
            <a:r>
              <a:rPr sz="1000" b="1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sz="1000" b="1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я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</a:t>
            </a:r>
            <a:r>
              <a:rPr sz="1000" b="1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b="1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845007" y="0"/>
                </a:moveTo>
                <a:lnTo>
                  <a:pt x="0" y="0"/>
                </a:lnTo>
                <a:lnTo>
                  <a:pt x="0" y="1116076"/>
                </a:lnTo>
                <a:lnTo>
                  <a:pt x="845007" y="1116076"/>
                </a:lnTo>
                <a:lnTo>
                  <a:pt x="964730" y="558038"/>
                </a:lnTo>
                <a:lnTo>
                  <a:pt x="845007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151282" y="2966973"/>
            <a:ext cx="965200" cy="1116330"/>
          </a:xfrm>
          <a:custGeom>
            <a:avLst/>
            <a:gdLst/>
            <a:ahLst/>
            <a:cxnLst/>
            <a:rect l="l" t="t" r="r" b="b"/>
            <a:pathLst>
              <a:path w="965200" h="1116329">
                <a:moveTo>
                  <a:pt x="0" y="0"/>
                </a:moveTo>
                <a:lnTo>
                  <a:pt x="845007" y="0"/>
                </a:lnTo>
                <a:lnTo>
                  <a:pt x="964730" y="558038"/>
                </a:lnTo>
                <a:lnTo>
                  <a:pt x="845007" y="1116076"/>
                </a:lnTo>
                <a:lnTo>
                  <a:pt x="0" y="1116076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74446" y="3021829"/>
            <a:ext cx="587553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endParaRPr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194917" y="3021828"/>
            <a:ext cx="1642745" cy="914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24574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я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но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ц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082544" y="3021828"/>
            <a:ext cx="1686560" cy="762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2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ных</a:t>
            </a:r>
            <a:r>
              <a:rPr sz="10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4826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,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т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т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ь в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011292" y="3021828"/>
            <a:ext cx="197738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</a:p>
          <a:p>
            <a:pPr marL="106680" marR="5016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я критериям образц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егионах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172070" y="3021828"/>
            <a:ext cx="1407795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 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х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856081" y="0"/>
                </a:moveTo>
                <a:lnTo>
                  <a:pt x="0" y="0"/>
                </a:lnTo>
                <a:lnTo>
                  <a:pt x="0" y="807808"/>
                </a:lnTo>
                <a:lnTo>
                  <a:pt x="856081" y="807808"/>
                </a:lnTo>
                <a:lnTo>
                  <a:pt x="964730" y="403898"/>
                </a:lnTo>
                <a:lnTo>
                  <a:pt x="856081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151282" y="5229225"/>
            <a:ext cx="965200" cy="808355"/>
          </a:xfrm>
          <a:custGeom>
            <a:avLst/>
            <a:gdLst/>
            <a:ahLst/>
            <a:cxnLst/>
            <a:rect l="l" t="t" r="r" b="b"/>
            <a:pathLst>
              <a:path w="965200" h="808354">
                <a:moveTo>
                  <a:pt x="0" y="0"/>
                </a:moveTo>
                <a:lnTo>
                  <a:pt x="856081" y="0"/>
                </a:lnTo>
                <a:lnTo>
                  <a:pt x="964730" y="403898"/>
                </a:lnTo>
                <a:lnTo>
                  <a:pt x="856081" y="807808"/>
                </a:lnTo>
                <a:lnTo>
                  <a:pt x="0" y="807808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86029" y="5284333"/>
            <a:ext cx="796104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з</a:t>
            </a:r>
            <a:r>
              <a:rPr sz="1050" b="1" spc="-2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ы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1194916" y="5284333"/>
            <a:ext cx="1813459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пр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БП региона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34925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ы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устранены выявленные недоработк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3082544" y="5284333"/>
            <a:ext cx="166370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ы</a:t>
            </a:r>
            <a:r>
              <a:rPr sz="1000" spc="4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ы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21844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я</a:t>
            </a:r>
            <a:endParaRPr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011292" y="5284333"/>
            <a:ext cx="1932939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3467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ны ч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й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ны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в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172070" y="5284333"/>
            <a:ext cx="1590675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8509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lang="ru-RU" sz="100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согласован </a:t>
            </a:r>
            <a:r>
              <a:rPr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ый</a:t>
            </a:r>
            <a:r>
              <a:rPr sz="1000" spc="-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д</a:t>
            </a:r>
            <a:r>
              <a:rPr sz="1000" spc="-4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3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858913" y="0"/>
                </a:moveTo>
                <a:lnTo>
                  <a:pt x="0" y="0"/>
                </a:lnTo>
                <a:lnTo>
                  <a:pt x="0" y="935989"/>
                </a:lnTo>
                <a:lnTo>
                  <a:pt x="858913" y="935989"/>
                </a:lnTo>
                <a:lnTo>
                  <a:pt x="964730" y="467994"/>
                </a:lnTo>
                <a:lnTo>
                  <a:pt x="858913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151295" y="4194175"/>
            <a:ext cx="965200" cy="935990"/>
          </a:xfrm>
          <a:custGeom>
            <a:avLst/>
            <a:gdLst/>
            <a:ahLst/>
            <a:cxnLst/>
            <a:rect l="l" t="t" r="r" b="b"/>
            <a:pathLst>
              <a:path w="965200" h="935989">
                <a:moveTo>
                  <a:pt x="0" y="0"/>
                </a:moveTo>
                <a:lnTo>
                  <a:pt x="858913" y="0"/>
                </a:lnTo>
                <a:lnTo>
                  <a:pt x="964730" y="467994"/>
                </a:lnTo>
                <a:lnTo>
                  <a:pt x="858913" y="935989"/>
                </a:lnTo>
                <a:lnTo>
                  <a:pt x="0" y="935989"/>
                </a:lnTo>
                <a:lnTo>
                  <a:pt x="0" y="0"/>
                </a:lnTo>
                <a:close/>
              </a:path>
            </a:pathLst>
          </a:custGeom>
          <a:ln w="190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174447" y="4249284"/>
            <a:ext cx="587552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ы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194917" y="4249283"/>
            <a:ext cx="1289050" cy="609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28575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ю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3082544" y="4249283"/>
            <a:ext cx="128587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marR="5080" indent="-7620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88900" algn="l"/>
              </a:tabLst>
            </a:pP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-3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ьт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в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011292" y="4249283"/>
            <a:ext cx="202641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1000" spc="-2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деодемонстрация</a:t>
            </a:r>
            <a:r>
              <a:rPr lang="ru-RU" sz="1000" spc="-2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spc="-10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и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10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</a:t>
            </a:r>
            <a:r>
              <a:rPr sz="1000" spc="-1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</a:t>
            </a:r>
            <a:r>
              <a:rPr sz="1000" spc="-5" dirty="0" err="1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sz="1000" spc="5" dirty="0" smtClean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spc="-2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2700" marR="5080">
              <a:lnSpc>
                <a:spcPct val="100000"/>
              </a:lnSpc>
            </a:pP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чно или дистанционно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172070" y="4249283"/>
            <a:ext cx="148526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indent="-93980"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щ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</a:t>
            </a:r>
            <a:r>
              <a:rPr sz="1000" spc="-1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</a:t>
            </a:r>
            <a:r>
              <a:rPr sz="1000" spc="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х</a:t>
            </a:r>
            <a:r>
              <a:rPr sz="1000" spc="-5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3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sz="100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ни</a:t>
            </a:r>
            <a:r>
              <a:rPr sz="1000" spc="-15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sz="1000" spc="-10" dirty="0" err="1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</a:t>
            </a:r>
            <a:r>
              <a:rPr sz="1000" spc="4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К</a:t>
            </a:r>
            <a:r>
              <a:rPr lang="ru-RU" sz="1000" spc="-10" dirty="0">
                <a:solidFill>
                  <a:srgbClr val="41414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очно или дистанционно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6680" marR="5080" indent="-93980">
              <a:lnSpc>
                <a:spcPct val="100000"/>
              </a:lnSpc>
              <a:buClr>
                <a:srgbClr val="414142"/>
              </a:buClr>
              <a:buFont typeface="Arial"/>
              <a:buChar char="•"/>
              <a:tabLst>
                <a:tab pos="107314" algn="l"/>
              </a:tabLst>
            </a:pPr>
            <a:endParaRPr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846882" y="0"/>
                </a:moveTo>
                <a:lnTo>
                  <a:pt x="0" y="0"/>
                </a:lnTo>
                <a:lnTo>
                  <a:pt x="0" y="1144397"/>
                </a:lnTo>
                <a:lnTo>
                  <a:pt x="846882" y="1144397"/>
                </a:lnTo>
                <a:lnTo>
                  <a:pt x="994418" y="572135"/>
                </a:lnTo>
                <a:lnTo>
                  <a:pt x="846882" y="0"/>
                </a:lnTo>
                <a:close/>
              </a:path>
            </a:pathLst>
          </a:custGeom>
          <a:solidFill>
            <a:srgbClr val="003174"/>
          </a:solidFill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21593" y="1236725"/>
            <a:ext cx="994410" cy="1144905"/>
          </a:xfrm>
          <a:custGeom>
            <a:avLst/>
            <a:gdLst/>
            <a:ahLst/>
            <a:cxnLst/>
            <a:rect l="l" t="t" r="r" b="b"/>
            <a:pathLst>
              <a:path w="994410" h="1144905">
                <a:moveTo>
                  <a:pt x="0" y="0"/>
                </a:moveTo>
                <a:lnTo>
                  <a:pt x="846882" y="0"/>
                </a:lnTo>
                <a:lnTo>
                  <a:pt x="994418" y="572135"/>
                </a:lnTo>
                <a:lnTo>
                  <a:pt x="846882" y="1144397"/>
                </a:lnTo>
                <a:lnTo>
                  <a:pt x="0" y="1144397"/>
                </a:lnTo>
                <a:lnTo>
                  <a:pt x="0" y="0"/>
                </a:lnTo>
                <a:close/>
              </a:path>
            </a:pathLst>
          </a:custGeom>
          <a:ln w="190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44881" y="1290818"/>
            <a:ext cx="794410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</a:t>
            </a:r>
            <a:r>
              <a:rPr sz="1050" b="1" spc="-15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sz="1050" b="1" spc="-1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ы</a:t>
            </a:r>
            <a:endParaRPr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189037" y="28399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1189037" y="4135373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1189037" y="5165725"/>
            <a:ext cx="7704455" cy="0"/>
          </a:xfrm>
          <a:custGeom>
            <a:avLst/>
            <a:gdLst/>
            <a:ahLst/>
            <a:cxnLst/>
            <a:rect l="l" t="t" r="r" b="b"/>
            <a:pathLst>
              <a:path w="7704455">
                <a:moveTo>
                  <a:pt x="0" y="0"/>
                </a:moveTo>
                <a:lnTo>
                  <a:pt x="7704137" y="0"/>
                </a:lnTo>
              </a:path>
            </a:pathLst>
          </a:custGeom>
          <a:ln w="9525">
            <a:solidFill>
              <a:srgbClr val="3D86BC"/>
            </a:solidFill>
          </a:ln>
        </p:spPr>
        <p:txBody>
          <a:bodyPr wrap="square" lIns="0" tIns="0" rIns="0" bIns="0" rtlCol="0"/>
          <a:lstStyle/>
          <a:p>
            <a:endParaRPr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object 8">
            <a:extLst>
              <a:ext uri="{FF2B5EF4-FFF2-40B4-BE49-F238E27FC236}">
                <a16:creationId xmlns:a16="http://schemas.microsoft.com/office/drawing/2014/main" id="{586B4089-8723-4ED9-A418-DC3C1A7CB33C}"/>
              </a:ext>
            </a:extLst>
          </p:cNvPr>
          <p:cNvSpPr txBox="1">
            <a:spLocks noGrp="1"/>
          </p:cNvSpPr>
          <p:nvPr>
            <p:ph type="sldNum" sz="quarter" idx="7"/>
          </p:nvPr>
        </p:nvSpPr>
        <p:spPr>
          <a:xfrm>
            <a:off x="8695817" y="6577904"/>
            <a:ext cx="19113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>
              <a:lnSpc>
                <a:spcPct val="100000"/>
              </a:lnSpc>
            </a:pPr>
            <a:fld id="{81D60167-4931-47E6-BA6A-407CBD079E47}" type="slidenum">
              <a:rPr sz="1400" b="1" spc="-10" dirty="0"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fld>
            <a:endParaRPr sz="1400" b="1" spc="-1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976" y="183724"/>
            <a:ext cx="441824" cy="5275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3174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6</TotalTime>
  <Words>7551</Words>
  <Application>Microsoft Office PowerPoint</Application>
  <PresentationFormat>Экран (4:3)</PresentationFormat>
  <Paragraphs>1305</Paragraphs>
  <Slides>60</Slides>
  <Notes>6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0</vt:i4>
      </vt:variant>
    </vt:vector>
  </HeadingPairs>
  <TitlesOfParts>
    <vt:vector size="67" baseType="lpstr">
      <vt:lpstr>Arial</vt:lpstr>
      <vt:lpstr>Calibri</vt:lpstr>
      <vt:lpstr>Franklin Gothic Book</vt:lpstr>
      <vt:lpstr>Times New Roman</vt:lpstr>
      <vt:lpstr>Wingdings</vt:lpstr>
      <vt:lpstr>Office Theme</vt:lpstr>
      <vt:lpstr>think-cell Slide</vt:lpstr>
      <vt:lpstr>Презентация PowerPoint</vt:lpstr>
      <vt:lpstr>Цели и описание документа</vt:lpstr>
      <vt:lpstr>Содержание</vt:lpstr>
      <vt:lpstr>Термины и сокращения</vt:lpstr>
      <vt:lpstr>Презентация PowerPoint</vt:lpstr>
      <vt:lpstr>1. Цели и задачи партнерской проверки качества образцов</vt:lpstr>
      <vt:lpstr>2. Виды партнерских проверок</vt:lpstr>
      <vt:lpstr>3. Объем проведения ППКО</vt:lpstr>
      <vt:lpstr>4. Организация процесса подготовки и проведения ППКО</vt:lpstr>
      <vt:lpstr>5 Типовой план проведения ППКО</vt:lpstr>
      <vt:lpstr>6. Принципы формирования и роли команды ППКО</vt:lpstr>
      <vt:lpstr>Презентация PowerPoint</vt:lpstr>
      <vt:lpstr>Презентация PowerPoint</vt:lpstr>
      <vt:lpstr>Презентация PowerPoint</vt:lpstr>
      <vt:lpstr>Подтверждение статуса – повторное проведение ППКО</vt:lpstr>
      <vt:lpstr>Прилож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правление проектами улучшений</vt:lpstr>
      <vt:lpstr>Управление проектами улучшений</vt:lpstr>
      <vt:lpstr>Управление проектами улучш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ПКО онлайн Опыт организаций обра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шев Алексей Юрьевич</dc:creator>
  <cp:lastModifiedBy>admin</cp:lastModifiedBy>
  <cp:revision>209</cp:revision>
  <cp:lastPrinted>2019-12-02T07:25:36Z</cp:lastPrinted>
  <dcterms:created xsi:type="dcterms:W3CDTF">2019-10-04T09:15:54Z</dcterms:created>
  <dcterms:modified xsi:type="dcterms:W3CDTF">2023-08-29T09:1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9-10T00:00:00Z</vt:filetime>
  </property>
  <property fmtid="{D5CDD505-2E9C-101B-9397-08002B2CF9AE}" pid="3" name="LastSaved">
    <vt:filetime>2019-10-04T00:00:00Z</vt:filetime>
  </property>
</Properties>
</file>